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99" r:id="rId5"/>
  </p:sldMasterIdLst>
  <p:notesMasterIdLst>
    <p:notesMasterId r:id="rId18"/>
  </p:notesMasterIdLst>
  <p:handoutMasterIdLst>
    <p:handoutMasterId r:id="rId19"/>
  </p:handoutMasterIdLst>
  <p:sldIdLst>
    <p:sldId id="527" r:id="rId6"/>
    <p:sldId id="503" r:id="rId7"/>
    <p:sldId id="540" r:id="rId8"/>
    <p:sldId id="536" r:id="rId9"/>
    <p:sldId id="537" r:id="rId10"/>
    <p:sldId id="539" r:id="rId11"/>
    <p:sldId id="541" r:id="rId12"/>
    <p:sldId id="544" r:id="rId13"/>
    <p:sldId id="545" r:id="rId14"/>
    <p:sldId id="546" r:id="rId15"/>
    <p:sldId id="547" r:id="rId16"/>
    <p:sldId id="543" r:id="rId17"/>
  </p:sldIdLst>
  <p:sldSz cx="12192000" cy="6858000"/>
  <p:notesSz cx="7315200" cy="9601200"/>
  <p:custDataLst>
    <p:tags r:id="rId20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09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ete, Juliana Damas (BR - Sao Paulo)" initials="SJD(-SP" lastIdx="1" clrIdx="0"/>
  <p:cmAuthor id="2" name="Ficher, Adriana Galantier (BR - Sao Paulo)" initials="FAG(-SP" lastIdx="11" clrIdx="1"/>
  <p:cmAuthor id="3" name="Fernandes, Andre Cyrineu" initials="FAC" lastIdx="4" clrIdx="2">
    <p:extLst>
      <p:ext uri="{19B8F6BF-5375-455C-9EA6-DF929625EA0E}">
        <p15:presenceInfo xmlns:p15="http://schemas.microsoft.com/office/powerpoint/2012/main" userId="S-1-5-21-57989841-1897051121-725345543-392854" providerId="AD"/>
      </p:ext>
    </p:extLst>
  </p:cmAuthor>
  <p:cmAuthor id="4" name="Refosco, Eduardo" initials="RE" lastIdx="3" clrIdx="3">
    <p:extLst>
      <p:ext uri="{19B8F6BF-5375-455C-9EA6-DF929625EA0E}">
        <p15:presenceInfo xmlns:p15="http://schemas.microsoft.com/office/powerpoint/2012/main" userId="S::erefosco@deloitte.com::7c0eb2fc-695a-4b54-81a7-27af8ad8924c" providerId="AD"/>
      </p:ext>
    </p:extLst>
  </p:cmAuthor>
  <p:cmAuthor id="5" name="Fernandes, Andre Cyrineu" initials="FAC [2]" lastIdx="6" clrIdx="4">
    <p:extLst>
      <p:ext uri="{19B8F6BF-5375-455C-9EA6-DF929625EA0E}">
        <p15:presenceInfo xmlns:p15="http://schemas.microsoft.com/office/powerpoint/2012/main" userId="Fernandes, Andre Cyrineu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BC25"/>
    <a:srgbClr val="85BB24"/>
    <a:srgbClr val="046A38"/>
    <a:srgbClr val="0097A9"/>
    <a:srgbClr val="4472C4"/>
    <a:srgbClr val="012169"/>
    <a:srgbClr val="000000"/>
    <a:srgbClr val="FFFFFF"/>
    <a:srgbClr val="69AFDF"/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5659" autoAdjust="0"/>
    <p:restoredTop sz="94004" autoAdjust="0"/>
  </p:normalViewPr>
  <p:slideViewPr>
    <p:cSldViewPr snapToGrid="0" showGuides="1">
      <p:cViewPr varScale="1">
        <p:scale>
          <a:sx n="67" d="100"/>
          <a:sy n="67" d="100"/>
        </p:scale>
        <p:origin x="236" y="44"/>
      </p:cViewPr>
      <p:guideLst>
        <p:guide/>
        <p:guide orient="horz" pos="2047"/>
        <p:guide orient="horz" pos="1593"/>
        <p:guide orient="horz" pos="2568"/>
        <p:guide orient="horz" pos="3090"/>
        <p:guide orient="horz" pos="3589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5" dt="2022-03-16T17:59:28.263" idx="5">
    <p:pos x="10" y="10"/>
    <p:text>CONTRAS: dificuldades de importar a base
forma de limpeza da base
forma de análise - mindset diferente do excel
adaptação as funcionalidades da power bi
markdown no githrub</p:text>
    <p:extLst>
      <p:ext uri="{C676402C-5697-4E1C-873F-D02D1690AC5C}">
        <p15:threadingInfo xmlns:p15="http://schemas.microsoft.com/office/powerpoint/2012/main" timeZoneBias="180"/>
      </p:ext>
    </p:extLst>
  </p:cm>
  <p:cm authorId="5" dt="2022-03-16T18:03:09.679" idx="6">
    <p:pos x="146" y="146"/>
    <p:text>PRÓS: menos possibilidade de erros
maior velocidade na execução das analises
trabalho com uma grandeza maior de dados</p:text>
    <p:extLst>
      <p:ext uri="{C676402C-5697-4E1C-873F-D02D1690AC5C}">
        <p15:threadingInfo xmlns:p15="http://schemas.microsoft.com/office/powerpoint/2012/main" timeZoneBias="1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3/22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3/2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78088" y="873125"/>
            <a:ext cx="4187825" cy="2355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8649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200" y="5530390"/>
            <a:ext cx="559201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325" y="553039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36656"/>
            <a:ext cx="11252200" cy="39461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84868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67" noProof="0" dirty="0">
                <a:solidFill>
                  <a:schemeClr val="bg1"/>
                </a:solidFill>
              </a:rPr>
              <a:t>Presentation title</a:t>
            </a:r>
            <a:br>
              <a:rPr lang="en-US" sz="867" noProof="0" dirty="0">
                <a:solidFill>
                  <a:schemeClr val="bg1"/>
                </a:solidFill>
              </a:rPr>
            </a:br>
            <a:r>
              <a:rPr lang="en-US" sz="867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53" y="6477000"/>
            <a:ext cx="5355167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867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867" noProof="0" dirty="0">
                <a:solidFill>
                  <a:schemeClr val="bg1"/>
                </a:solidFill>
              </a:rPr>
            </a:br>
            <a:r>
              <a:rPr lang="en-US" sz="867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33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67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867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200" y="5530390"/>
            <a:ext cx="559201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24846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325" y="553039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457053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1211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79014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034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8422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48851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1520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4377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08815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82764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598608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154408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9169814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7776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499300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397508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789787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7591027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9079743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36656"/>
            <a:ext cx="11252200" cy="39461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84868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44974552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3079299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9448685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6046160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796132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89614965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19521046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07405838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0598173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7264474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5408375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01399438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6603793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84875652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3851990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96992432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867" dirty="0">
                <a:solidFill>
                  <a:prstClr val="white"/>
                </a:solidFill>
              </a:rPr>
              <a:t>Presentation title</a:t>
            </a:r>
            <a:br>
              <a:rPr lang="en-US" sz="867" dirty="0">
                <a:solidFill>
                  <a:prstClr val="white"/>
                </a:solidFill>
              </a:rPr>
            </a:br>
            <a:r>
              <a:rPr lang="en-US" sz="867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53" y="6477000"/>
            <a:ext cx="5355167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867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867" dirty="0">
                <a:solidFill>
                  <a:prstClr val="white"/>
                </a:solidFill>
              </a:rPr>
            </a:br>
            <a:r>
              <a:rPr lang="en-US" sz="867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33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67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867" dirty="0">
              <a:solidFill>
                <a:prstClr val="white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93868621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5783219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253603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4705029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9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61.xml"/><Relationship Id="rId34" Type="http://schemas.openxmlformats.org/officeDocument/2006/relationships/slideLayout" Target="../slideLayouts/slideLayout74.xml"/><Relationship Id="rId42" Type="http://schemas.openxmlformats.org/officeDocument/2006/relationships/vmlDrawing" Target="../drawings/vmlDrawing2.v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37" Type="http://schemas.openxmlformats.org/officeDocument/2006/relationships/slideLayout" Target="../slideLayouts/slideLayout77.xml"/><Relationship Id="rId40" Type="http://schemas.openxmlformats.org/officeDocument/2006/relationships/slideLayout" Target="../slideLayouts/slideLayout8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36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4" Type="http://schemas.openxmlformats.org/officeDocument/2006/relationships/oleObject" Target="../embeddings/oleObject2.bin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35" Type="http://schemas.openxmlformats.org/officeDocument/2006/relationships/slideLayout" Target="../slideLayouts/slideLayout75.xml"/><Relationship Id="rId43" Type="http://schemas.openxmlformats.org/officeDocument/2006/relationships/tags" Target="../tags/tag3.xml"/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slideLayout" Target="../slideLayouts/slideLayout73.xml"/><Relationship Id="rId38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60.xml"/><Relationship Id="rId4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827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  <p:sldLayoutId id="2147483817" r:id="rId18"/>
    <p:sldLayoutId id="2147483818" r:id="rId19"/>
    <p:sldLayoutId id="2147483819" r:id="rId20"/>
    <p:sldLayoutId id="2147483820" r:id="rId21"/>
    <p:sldLayoutId id="2147483821" r:id="rId22"/>
    <p:sldLayoutId id="2147483822" r:id="rId23"/>
    <p:sldLayoutId id="2147483823" r:id="rId24"/>
    <p:sldLayoutId id="2147483824" r:id="rId25"/>
    <p:sldLayoutId id="2147483825" r:id="rId26"/>
    <p:sldLayoutId id="2147483826" r:id="rId27"/>
    <p:sldLayoutId id="2147483827" r:id="rId28"/>
    <p:sldLayoutId id="2147483828" r:id="rId29"/>
    <p:sldLayoutId id="2147483829" r:id="rId30"/>
    <p:sldLayoutId id="2147483830" r:id="rId31"/>
    <p:sldLayoutId id="2147483831" r:id="rId32"/>
    <p:sldLayoutId id="2147483832" r:id="rId33"/>
    <p:sldLayoutId id="2147483833" r:id="rId34"/>
    <p:sldLayoutId id="2147483834" r:id="rId35"/>
    <p:sldLayoutId id="2147483835" r:id="rId36"/>
    <p:sldLayoutId id="2147483836" r:id="rId37"/>
    <p:sldLayoutId id="2147483837" r:id="rId38"/>
    <p:sldLayoutId id="2147483838" r:id="rId39"/>
    <p:sldLayoutId id="2147483839" r:id="rId4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9" pos="4986">
          <p15:clr>
            <a:srgbClr val="F26B43"/>
          </p15:clr>
        </p15:guide>
        <p15:guide id="10" pos="1382">
          <p15:clr>
            <a:srgbClr val="F26B43"/>
          </p15:clr>
        </p15:guide>
        <p15:guide id="11" pos="1496">
          <p15:clr>
            <a:srgbClr val="F26B43"/>
          </p15:clr>
        </p15:guide>
        <p15:guide id="12" pos="2581">
          <p15:clr>
            <a:srgbClr val="F26B43"/>
          </p15:clr>
        </p15:guide>
        <p15:guide id="13" pos="2695">
          <p15:clr>
            <a:srgbClr val="F26B43"/>
          </p15:clr>
        </p15:guide>
        <p15:guide id="14" pos="6185">
          <p15:clr>
            <a:srgbClr val="F26B43"/>
          </p15:clr>
        </p15:guide>
        <p15:guide id="15" pos="3783">
          <p15:clr>
            <a:srgbClr val="F26B43"/>
          </p15:clr>
        </p15:guide>
        <p15:guide id="16" pos="3896">
          <p15:clr>
            <a:srgbClr val="F26B43"/>
          </p15:clr>
        </p15:guide>
        <p15:guide id="17" pos="3840">
          <p15:clr>
            <a:srgbClr val="F26B43"/>
          </p15:clr>
        </p15:guide>
        <p15:guide id="18" pos="6299">
          <p15:clr>
            <a:srgbClr val="F26B43"/>
          </p15:clr>
        </p15:guide>
        <p15:guide id="19" orient="horz" pos="1049">
          <p15:clr>
            <a:srgbClr val="F26B43"/>
          </p15:clr>
        </p15:guide>
        <p15:guide id="20" orient="horz" pos="641">
          <p15:clr>
            <a:srgbClr val="F26B43"/>
          </p15:clr>
        </p15:guide>
        <p15:guide id="21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hyperlink" Target="https://github.com/SbrnBernardo/Sabrina-Bernado/upload/main" TargetMode="External"/><Relationship Id="rId1" Type="http://schemas.openxmlformats.org/officeDocument/2006/relationships/slideLayout" Target="../slideLayouts/slideLayout4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4248" y="1169129"/>
            <a:ext cx="4363505" cy="4519743"/>
          </a:xfrm>
          <a:prstGeom prst="rect">
            <a:avLst/>
          </a:prstGeom>
        </p:spPr>
      </p:pic>
      <p:sp>
        <p:nvSpPr>
          <p:cNvPr id="18" name="Title 2"/>
          <p:cNvSpPr txBox="1">
            <a:spLocks/>
          </p:cNvSpPr>
          <p:nvPr/>
        </p:nvSpPr>
        <p:spPr bwMode="gray">
          <a:xfrm>
            <a:off x="429259" y="5589664"/>
            <a:ext cx="5594349" cy="32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t-BR" sz="24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loitte Data Literacy</a:t>
            </a:r>
          </a:p>
        </p:txBody>
      </p:sp>
      <p:sp>
        <p:nvSpPr>
          <p:cNvPr id="20" name="Subtitle 3"/>
          <p:cNvSpPr txBox="1">
            <a:spLocks/>
          </p:cNvSpPr>
          <p:nvPr/>
        </p:nvSpPr>
        <p:spPr bwMode="gray">
          <a:xfrm>
            <a:off x="429260" y="5919086"/>
            <a:ext cx="8103868" cy="5056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85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585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2667" b="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754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None/>
              <a:defRPr lang="en-US"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7924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400" dirty="0">
                <a:solidFill>
                  <a:srgbClr val="86BC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ojeto Integrador II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429260" y="6356477"/>
            <a:ext cx="5594349" cy="298450"/>
          </a:xfrm>
          <a:prstGeom prst="rect">
            <a:avLst/>
          </a:prstGeom>
        </p:spPr>
        <p:txBody>
          <a:bodyPr/>
          <a:lstStyle/>
          <a:p>
            <a:r>
              <a:rPr lang="pt-BR" dirty="0"/>
              <a:t>Março de 2022</a:t>
            </a:r>
            <a:r>
              <a:rPr lang="pt-BR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4121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Placeholder 9"/>
          <p:cNvSpPr txBox="1">
            <a:spLocks/>
          </p:cNvSpPr>
          <p:nvPr/>
        </p:nvSpPr>
        <p:spPr>
          <a:xfrm>
            <a:off x="364276" y="783962"/>
            <a:ext cx="8352000" cy="4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sultados – Base </a:t>
            </a:r>
            <a:r>
              <a:rPr lang="pt-BR" sz="2000" dirty="0" err="1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irths</a:t>
            </a:r>
            <a:endParaRPr lang="pt-BR" sz="2000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4" name="Title 8"/>
          <p:cNvSpPr txBox="1">
            <a:spLocks/>
          </p:cNvSpPr>
          <p:nvPr/>
        </p:nvSpPr>
        <p:spPr>
          <a:xfrm>
            <a:off x="364276" y="314470"/>
            <a:ext cx="9523043" cy="4694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Projeto Integrador II</a:t>
            </a:r>
          </a:p>
        </p:txBody>
      </p:sp>
      <p:sp>
        <p:nvSpPr>
          <p:cNvPr id="7" name="Text Box 10">
            <a:extLst>
              <a:ext uri="{FF2B5EF4-FFF2-40B4-BE49-F238E27FC236}">
                <a16:creationId xmlns:a16="http://schemas.microsoft.com/office/drawing/2014/main" id="{4904A154-FD5B-45D4-89B6-59D68A36F3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276" y="1304242"/>
            <a:ext cx="5315070" cy="36576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ctr" anchorCtr="0"/>
          <a:lstStyle/>
          <a:p>
            <a:pPr algn="just" defTabSz="957263" eaLnBrk="1" hangingPunct="1">
              <a:spcBef>
                <a:spcPts val="200"/>
              </a:spcBef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3) </a:t>
            </a:r>
            <a:r>
              <a:rPr lang="pt-BR" sz="1200" b="1" dirty="0">
                <a:latin typeface="Calibri" panose="020F0502020204030204" pitchFamily="34" charset="0"/>
                <a:cs typeface="Calibri" panose="020F0502020204030204" pitchFamily="34" charset="0"/>
              </a:rPr>
              <a:t>Qual ano teve mais nascimentos do sexo feminino? </a:t>
            </a:r>
            <a:endParaRPr 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B67E73B6-4E12-43E3-8C84-A4F51FBCF4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276" y="1658254"/>
            <a:ext cx="5315070" cy="723999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t" anchorCtr="0"/>
          <a:lstStyle/>
          <a:p>
            <a:pPr algn="just" defTabSz="957263">
              <a:spcBef>
                <a:spcPts val="200"/>
              </a:spcBef>
              <a:spcAft>
                <a:spcPts val="300"/>
              </a:spcAft>
            </a:pP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Como podemos observar da leitura do gráfico abaixo, o ano de 2007 foi o que apresentou a maior quantidade nascimentos de pessoas do sexo feminino, para o período de 1969 a 2008.</a:t>
            </a:r>
          </a:p>
          <a:p>
            <a:pPr algn="just" defTabSz="957263" eaLnBrk="1" hangingPunct="1">
              <a:spcBef>
                <a:spcPts val="200"/>
              </a:spcBef>
              <a:spcAft>
                <a:spcPts val="300"/>
              </a:spcAft>
            </a:pPr>
            <a:endParaRPr lang="fr-FR" sz="1200" dirty="0">
              <a:ea typeface="+mn-ea"/>
              <a:cs typeface="Arial" pitchFamily="34" charset="0"/>
            </a:endParaRPr>
          </a:p>
        </p:txBody>
      </p:sp>
      <p:sp>
        <p:nvSpPr>
          <p:cNvPr id="9" name="Text Box 10">
            <a:extLst>
              <a:ext uri="{FF2B5EF4-FFF2-40B4-BE49-F238E27FC236}">
                <a16:creationId xmlns:a16="http://schemas.microsoft.com/office/drawing/2014/main" id="{B53DE608-3C15-4130-895C-A460A89560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2654" y="1304242"/>
            <a:ext cx="5315070" cy="36576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ctr" anchorCtr="0"/>
          <a:lstStyle/>
          <a:p>
            <a:pPr algn="just" defTabSz="957263" eaLnBrk="1" hangingPunct="1">
              <a:spcBef>
                <a:spcPts val="200"/>
              </a:spcBef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4) </a:t>
            </a:r>
            <a:r>
              <a:rPr lang="pt-BR" sz="1200" b="1" dirty="0">
                <a:latin typeface="Calibri" panose="020F0502020204030204" pitchFamily="34" charset="0"/>
                <a:cs typeface="Calibri" panose="020F0502020204030204" pitchFamily="34" charset="0"/>
              </a:rPr>
              <a:t>Qual ano teve mais nascimentos do sexo masculino? </a:t>
            </a:r>
            <a:endParaRPr 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 11">
            <a:extLst>
              <a:ext uri="{FF2B5EF4-FFF2-40B4-BE49-F238E27FC236}">
                <a16:creationId xmlns:a16="http://schemas.microsoft.com/office/drawing/2014/main" id="{24C0A6EA-0EB5-407B-8CA4-A08F731FD8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2654" y="1658254"/>
            <a:ext cx="5315070" cy="723999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t" anchorCtr="0"/>
          <a:lstStyle/>
          <a:p>
            <a:pPr algn="just" defTabSz="957263">
              <a:spcBef>
                <a:spcPts val="200"/>
              </a:spcBef>
              <a:spcAft>
                <a:spcPts val="300"/>
              </a:spcAft>
            </a:pP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Como podemos observar da leitura do gráfico abaixo, o ano de 2007 foi o que apresentou a maior quantidade nascimentos de pessoas do sexo masculino, para o período de 1969 a 2008.</a:t>
            </a:r>
          </a:p>
          <a:p>
            <a:pPr defTabSz="957263" eaLnBrk="1" hangingPunct="1">
              <a:spcBef>
                <a:spcPts val="200"/>
              </a:spcBef>
              <a:spcAft>
                <a:spcPts val="300"/>
              </a:spcAft>
            </a:pPr>
            <a:endParaRPr lang="pt-BR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 Box 10">
            <a:extLst>
              <a:ext uri="{FF2B5EF4-FFF2-40B4-BE49-F238E27FC236}">
                <a16:creationId xmlns:a16="http://schemas.microsoft.com/office/drawing/2014/main" id="{DF3B3B3F-5752-4BBB-B4F4-FD60B81630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276" y="5370878"/>
            <a:ext cx="5315070" cy="36576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t" anchorCtr="0"/>
          <a:lstStyle/>
          <a:p>
            <a:pPr defTabSz="957263" eaLnBrk="1" hangingPunct="1">
              <a:spcBef>
                <a:spcPts val="200"/>
              </a:spcBef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Comando SQL</a:t>
            </a: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DE08401C-2D56-476C-B9DE-4360FC452F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641" y="5729092"/>
            <a:ext cx="5315070" cy="814438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defTabSz="957998" eaLnBrk="1" hangingPunct="1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SELECT year, gender, SUM(births) FROM births</a:t>
            </a:r>
          </a:p>
          <a:p>
            <a:pPr defTabSz="957998" eaLnBrk="1" hangingPunct="1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WHERE gender = 'F'</a:t>
            </a:r>
          </a:p>
          <a:p>
            <a:pPr defTabSz="957998" eaLnBrk="1" hangingPunct="1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GROUP BY year, gender</a:t>
            </a:r>
          </a:p>
          <a:p>
            <a:pPr defTabSz="957998" eaLnBrk="1" hangingPunct="1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ORDER by SUM(births) DESC;</a:t>
            </a:r>
          </a:p>
        </p:txBody>
      </p:sp>
      <p:sp>
        <p:nvSpPr>
          <p:cNvPr id="17" name="Text Box 10">
            <a:extLst>
              <a:ext uri="{FF2B5EF4-FFF2-40B4-BE49-F238E27FC236}">
                <a16:creationId xmlns:a16="http://schemas.microsoft.com/office/drawing/2014/main" id="{767DCE69-56E0-4BC1-BDC7-187E1D806C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2654" y="5370878"/>
            <a:ext cx="5315070" cy="36576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t" anchorCtr="0"/>
          <a:lstStyle/>
          <a:p>
            <a:pPr defTabSz="957263" eaLnBrk="1" hangingPunct="1">
              <a:spcBef>
                <a:spcPts val="200"/>
              </a:spcBef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Comando SQL</a:t>
            </a:r>
          </a:p>
        </p:txBody>
      </p:sp>
      <p:sp>
        <p:nvSpPr>
          <p:cNvPr id="18" name="Rectangle 11">
            <a:extLst>
              <a:ext uri="{FF2B5EF4-FFF2-40B4-BE49-F238E27FC236}">
                <a16:creationId xmlns:a16="http://schemas.microsoft.com/office/drawing/2014/main" id="{8578E926-402B-42B3-AAD6-B8C4C2D80F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2019" y="5729092"/>
            <a:ext cx="5315070" cy="814438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defTabSz="957998" eaLnBrk="1" hangingPunct="1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SELECT year, gender, SUM(births) FROM births</a:t>
            </a:r>
          </a:p>
          <a:p>
            <a:pPr defTabSz="957998" eaLnBrk="1" hangingPunct="1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WHERE gender = 'M'</a:t>
            </a:r>
          </a:p>
          <a:p>
            <a:pPr defTabSz="957998" eaLnBrk="1" hangingPunct="1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GROUP BY year, gender</a:t>
            </a:r>
          </a:p>
          <a:p>
            <a:pPr defTabSz="957998" eaLnBrk="1" hangingPunct="1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ORDER by SUM(births) DESC;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656189E-2338-4B07-84DB-F5E41EA6824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5781" t="40972" r="38751" b="31667"/>
          <a:stretch/>
        </p:blipFill>
        <p:spPr>
          <a:xfrm>
            <a:off x="363641" y="2763734"/>
            <a:ext cx="5318514" cy="180025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F197649-7EC5-4944-AA7F-1B3DB040F72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859" t="41389" r="36094" b="23333"/>
          <a:stretch/>
        </p:blipFill>
        <p:spPr>
          <a:xfrm>
            <a:off x="6509847" y="2691827"/>
            <a:ext cx="5220554" cy="195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58418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Placeholder 9"/>
          <p:cNvSpPr txBox="1">
            <a:spLocks/>
          </p:cNvSpPr>
          <p:nvPr/>
        </p:nvSpPr>
        <p:spPr>
          <a:xfrm>
            <a:off x="364276" y="783962"/>
            <a:ext cx="8352000" cy="4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sultados – Base </a:t>
            </a:r>
            <a:r>
              <a:rPr lang="pt-BR" sz="2000" dirty="0" err="1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irths</a:t>
            </a:r>
            <a:endParaRPr lang="pt-BR" sz="2000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4" name="Title 8"/>
          <p:cNvSpPr txBox="1">
            <a:spLocks/>
          </p:cNvSpPr>
          <p:nvPr/>
        </p:nvSpPr>
        <p:spPr>
          <a:xfrm>
            <a:off x="364276" y="314470"/>
            <a:ext cx="9523043" cy="4694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Projeto Integrador II</a:t>
            </a:r>
          </a:p>
        </p:txBody>
      </p:sp>
      <p:sp>
        <p:nvSpPr>
          <p:cNvPr id="7" name="Text Box 10">
            <a:extLst>
              <a:ext uri="{FF2B5EF4-FFF2-40B4-BE49-F238E27FC236}">
                <a16:creationId xmlns:a16="http://schemas.microsoft.com/office/drawing/2014/main" id="{4904A154-FD5B-45D4-89B6-59D68A36F3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276" y="1304242"/>
            <a:ext cx="5315070" cy="36576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ctr" anchorCtr="0"/>
          <a:lstStyle/>
          <a:p>
            <a:pPr algn="just" defTabSz="957263" eaLnBrk="1" hangingPunct="1">
              <a:spcBef>
                <a:spcPts val="200"/>
              </a:spcBef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5) </a:t>
            </a:r>
            <a:r>
              <a:rPr lang="pt-BR" sz="1200" b="1" dirty="0">
                <a:latin typeface="Calibri" panose="020F0502020204030204" pitchFamily="34" charset="0"/>
                <a:cs typeface="Calibri" panose="020F0502020204030204" pitchFamily="34" charset="0"/>
              </a:rPr>
              <a:t>Qual mês de qual ano teve mais nascimentos?</a:t>
            </a:r>
            <a:endParaRPr 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B67E73B6-4E12-43E3-8C84-A4F51FBCF4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276" y="1658254"/>
            <a:ext cx="5315070" cy="723999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t" anchorCtr="0"/>
          <a:lstStyle/>
          <a:p>
            <a:pPr algn="just" defTabSz="957263" eaLnBrk="1" hangingPunct="1">
              <a:spcBef>
                <a:spcPts val="200"/>
              </a:spcBef>
              <a:spcAft>
                <a:spcPts val="300"/>
              </a:spcAft>
            </a:pP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Como podemos observar da leitura do gráfico abaixo, o mês de agosto do ano de 2007 foi o que apresentou a maior quantidade nascimentos, para o período de 1969 a 2008.</a:t>
            </a:r>
          </a:p>
        </p:txBody>
      </p:sp>
      <p:sp>
        <p:nvSpPr>
          <p:cNvPr id="15" name="Text Box 10">
            <a:extLst>
              <a:ext uri="{FF2B5EF4-FFF2-40B4-BE49-F238E27FC236}">
                <a16:creationId xmlns:a16="http://schemas.microsoft.com/office/drawing/2014/main" id="{DF3B3B3F-5752-4BBB-B4F4-FD60B81630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276" y="5370878"/>
            <a:ext cx="5315070" cy="36576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t" anchorCtr="0"/>
          <a:lstStyle/>
          <a:p>
            <a:pPr defTabSz="957263" eaLnBrk="1" hangingPunct="1">
              <a:spcBef>
                <a:spcPts val="200"/>
              </a:spcBef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Comando SQL</a:t>
            </a: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DE08401C-2D56-476C-B9DE-4360FC452F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641" y="5729092"/>
            <a:ext cx="5315070" cy="814438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defTabSz="957998" eaLnBrk="1" hangingPunct="1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SELECT year, month, SUM(births) FROM births</a:t>
            </a:r>
          </a:p>
          <a:p>
            <a:pPr defTabSz="957998" eaLnBrk="1" hangingPunct="1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GROUP BY year, month</a:t>
            </a:r>
          </a:p>
          <a:p>
            <a:pPr defTabSz="957998" eaLnBrk="1" hangingPunct="1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ORDER by SUM(births) DESC;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D838F2D-01FA-4F08-91FA-8C25F0139C0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949" t="36014" r="30489" b="26047"/>
          <a:stretch/>
        </p:blipFill>
        <p:spPr>
          <a:xfrm>
            <a:off x="363642" y="2503469"/>
            <a:ext cx="5315069" cy="2538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19091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Placeholder 9"/>
          <p:cNvSpPr txBox="1">
            <a:spLocks/>
          </p:cNvSpPr>
          <p:nvPr/>
        </p:nvSpPr>
        <p:spPr>
          <a:xfrm>
            <a:off x="364276" y="783962"/>
            <a:ext cx="8352000" cy="4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 dirty="0">
                <a:solidFill>
                  <a:srgbClr val="86BC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siderações Finais</a:t>
            </a:r>
          </a:p>
        </p:txBody>
      </p:sp>
      <p:sp>
        <p:nvSpPr>
          <p:cNvPr id="64" name="Title 8"/>
          <p:cNvSpPr txBox="1">
            <a:spLocks/>
          </p:cNvSpPr>
          <p:nvPr/>
        </p:nvSpPr>
        <p:spPr>
          <a:xfrm>
            <a:off x="364276" y="314470"/>
            <a:ext cx="9523043" cy="4694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Projeto Integrador II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3638B841-D7ED-4D1D-A157-4F5977AEDC08}"/>
              </a:ext>
            </a:extLst>
          </p:cNvPr>
          <p:cNvSpPr>
            <a:spLocks/>
          </p:cNvSpPr>
          <p:nvPr/>
        </p:nvSpPr>
        <p:spPr bwMode="auto">
          <a:xfrm>
            <a:off x="5437438" y="1746836"/>
            <a:ext cx="3824288" cy="3916362"/>
          </a:xfrm>
          <a:custGeom>
            <a:avLst/>
            <a:gdLst>
              <a:gd name="T0" fmla="*/ 520 w 2409"/>
              <a:gd name="T1" fmla="*/ 0 h 2467"/>
              <a:gd name="T2" fmla="*/ 476 w 2409"/>
              <a:gd name="T3" fmla="*/ 457 h 2467"/>
              <a:gd name="T4" fmla="*/ 667 w 2409"/>
              <a:gd name="T5" fmla="*/ 869 h 2467"/>
              <a:gd name="T6" fmla="*/ 426 w 2409"/>
              <a:gd name="T7" fmla="*/ 1388 h 2467"/>
              <a:gd name="T8" fmla="*/ 426 w 2409"/>
              <a:gd name="T9" fmla="*/ 1067 h 2467"/>
              <a:gd name="T10" fmla="*/ 420 w 2409"/>
              <a:gd name="T11" fmla="*/ 1067 h 2467"/>
              <a:gd name="T12" fmla="*/ 388 w 2409"/>
              <a:gd name="T13" fmla="*/ 1398 h 2467"/>
              <a:gd name="T14" fmla="*/ 250 w 2409"/>
              <a:gd name="T15" fmla="*/ 1398 h 2467"/>
              <a:gd name="T16" fmla="*/ 242 w 2409"/>
              <a:gd name="T17" fmla="*/ 1398 h 2467"/>
              <a:gd name="T18" fmla="*/ 242 w 2409"/>
              <a:gd name="T19" fmla="*/ 1079 h 2467"/>
              <a:gd name="T20" fmla="*/ 0 w 2409"/>
              <a:gd name="T21" fmla="*/ 1598 h 2467"/>
              <a:gd name="T22" fmla="*/ 192 w 2409"/>
              <a:gd name="T23" fmla="*/ 2007 h 2467"/>
              <a:gd name="T24" fmla="*/ 242 w 2409"/>
              <a:gd name="T25" fmla="*/ 2115 h 2467"/>
              <a:gd name="T26" fmla="*/ 242 w 2409"/>
              <a:gd name="T27" fmla="*/ 1796 h 2467"/>
              <a:gd name="T28" fmla="*/ 350 w 2409"/>
              <a:gd name="T29" fmla="*/ 1796 h 2467"/>
              <a:gd name="T30" fmla="*/ 286 w 2409"/>
              <a:gd name="T31" fmla="*/ 2467 h 2467"/>
              <a:gd name="T32" fmla="*/ 2409 w 2409"/>
              <a:gd name="T33" fmla="*/ 2467 h 2467"/>
              <a:gd name="T34" fmla="*/ 2409 w 2409"/>
              <a:gd name="T35" fmla="*/ 0 h 2467"/>
              <a:gd name="T36" fmla="*/ 520 w 2409"/>
              <a:gd name="T37" fmla="*/ 0 h 2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09" h="2467">
                <a:moveTo>
                  <a:pt x="520" y="0"/>
                </a:moveTo>
                <a:lnTo>
                  <a:pt x="476" y="457"/>
                </a:lnTo>
                <a:lnTo>
                  <a:pt x="667" y="869"/>
                </a:lnTo>
                <a:lnTo>
                  <a:pt x="426" y="1388"/>
                </a:lnTo>
                <a:lnTo>
                  <a:pt x="426" y="1067"/>
                </a:lnTo>
                <a:lnTo>
                  <a:pt x="420" y="1067"/>
                </a:lnTo>
                <a:lnTo>
                  <a:pt x="388" y="1398"/>
                </a:lnTo>
                <a:lnTo>
                  <a:pt x="250" y="1398"/>
                </a:lnTo>
                <a:lnTo>
                  <a:pt x="242" y="1398"/>
                </a:lnTo>
                <a:lnTo>
                  <a:pt x="242" y="1079"/>
                </a:lnTo>
                <a:lnTo>
                  <a:pt x="0" y="1598"/>
                </a:lnTo>
                <a:lnTo>
                  <a:pt x="192" y="2007"/>
                </a:lnTo>
                <a:lnTo>
                  <a:pt x="242" y="2115"/>
                </a:lnTo>
                <a:lnTo>
                  <a:pt x="242" y="1796"/>
                </a:lnTo>
                <a:lnTo>
                  <a:pt x="350" y="1796"/>
                </a:lnTo>
                <a:lnTo>
                  <a:pt x="286" y="2467"/>
                </a:lnTo>
                <a:lnTo>
                  <a:pt x="2409" y="2467"/>
                </a:lnTo>
                <a:lnTo>
                  <a:pt x="2409" y="0"/>
                </a:lnTo>
                <a:lnTo>
                  <a:pt x="520" y="0"/>
                </a:lnTo>
                <a:close/>
              </a:path>
            </a:pathLst>
          </a:custGeom>
          <a:solidFill>
            <a:schemeClr val="accent1"/>
          </a:solidFill>
          <a:ln w="6" cap="flat">
            <a:noFill/>
            <a:prstDash val="solid"/>
            <a:miter lim="800000"/>
            <a:headEnd/>
            <a:tailEnd/>
          </a:ln>
        </p:spPr>
        <p:txBody>
          <a:bodyPr vert="horz" wrap="square" lIns="1097280" tIns="91440" rIns="91440" bIns="9144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ontos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ssertivos</a:t>
            </a:r>
            <a:endParaRPr lang="en-US" sz="16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marR="0" lvl="0" indent="-22860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en-US" sz="1400" b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Agilidade</a:t>
            </a:r>
            <a:r>
              <a:rPr lang="en-US" sz="1400" b="1" kern="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eparação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das bases</a:t>
            </a:r>
          </a:p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Análises</a:t>
            </a:r>
            <a:r>
              <a:rPr lang="en-US" sz="140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como</a:t>
            </a:r>
            <a:r>
              <a:rPr lang="en-US" sz="140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mais</a:t>
            </a:r>
            <a:r>
              <a:rPr lang="en-US" sz="140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agilidade</a:t>
            </a:r>
            <a:endParaRPr lang="en-US" sz="14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kern="0" dirty="0">
                <a:latin typeface="Calibri" panose="020F0502020204030204" pitchFamily="34" charset="0"/>
                <a:cs typeface="Calibri" panose="020F0502020204030204" pitchFamily="34" charset="0"/>
              </a:rPr>
              <a:t>2) </a:t>
            </a:r>
            <a:r>
              <a:rPr lang="en-US" sz="1400" b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Assertividade</a:t>
            </a:r>
            <a:endParaRPr lang="en-US" sz="14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Execução</a:t>
            </a:r>
            <a:r>
              <a:rPr lang="en-US" sz="1400" kern="0" dirty="0">
                <a:latin typeface="Calibri" panose="020F0502020204030204" pitchFamily="34" charset="0"/>
                <a:cs typeface="Calibri" panose="020F0502020204030204" pitchFamily="34" charset="0"/>
              </a:rPr>
              <a:t> das </a:t>
            </a:r>
            <a:r>
              <a:rPr lang="en-US" sz="14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análises</a:t>
            </a:r>
            <a:r>
              <a:rPr lang="en-US" sz="1400" kern="0" dirty="0">
                <a:latin typeface="Calibri" panose="020F0502020204030204" pitchFamily="34" charset="0"/>
                <a:cs typeface="Calibri" panose="020F0502020204030204" pitchFamily="34" charset="0"/>
              </a:rPr>
              <a:t> com </a:t>
            </a:r>
            <a:r>
              <a:rPr lang="en-US" sz="14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assertividade</a:t>
            </a:r>
            <a:r>
              <a:rPr lang="en-US" sz="1400" kern="0" dirty="0">
                <a:latin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US" sz="14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menor</a:t>
            </a:r>
            <a:r>
              <a:rPr lang="en-US" sz="140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propensão</a:t>
            </a:r>
            <a:r>
              <a:rPr lang="en-US" sz="1400" kern="0" dirty="0">
                <a:latin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US" sz="14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erros</a:t>
            </a:r>
            <a:r>
              <a:rPr lang="en-US" sz="140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humanos</a:t>
            </a:r>
            <a:br>
              <a:rPr lang="en-US" sz="1400" b="1" kern="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kumimoji="0" lang="en-U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96CA98C9-D4FA-4BCC-8838-83C143CB6693}"/>
              </a:ext>
            </a:extLst>
          </p:cNvPr>
          <p:cNvSpPr>
            <a:spLocks/>
          </p:cNvSpPr>
          <p:nvPr/>
        </p:nvSpPr>
        <p:spPr bwMode="auto">
          <a:xfrm>
            <a:off x="2673600" y="1723976"/>
            <a:ext cx="3822700" cy="3916362"/>
          </a:xfrm>
          <a:custGeom>
            <a:avLst/>
            <a:gdLst>
              <a:gd name="T0" fmla="*/ 2408 w 2408"/>
              <a:gd name="T1" fmla="*/ 869 h 2467"/>
              <a:gd name="T2" fmla="*/ 2217 w 2408"/>
              <a:gd name="T3" fmla="*/ 457 h 2467"/>
              <a:gd name="T4" fmla="*/ 2167 w 2408"/>
              <a:gd name="T5" fmla="*/ 349 h 2467"/>
              <a:gd name="T6" fmla="*/ 2167 w 2408"/>
              <a:gd name="T7" fmla="*/ 669 h 2467"/>
              <a:gd name="T8" fmla="*/ 2059 w 2408"/>
              <a:gd name="T9" fmla="*/ 669 h 2467"/>
              <a:gd name="T10" fmla="*/ 2123 w 2408"/>
              <a:gd name="T11" fmla="*/ 0 h 2467"/>
              <a:gd name="T12" fmla="*/ 0 w 2408"/>
              <a:gd name="T13" fmla="*/ 0 h 2467"/>
              <a:gd name="T14" fmla="*/ 0 w 2408"/>
              <a:gd name="T15" fmla="*/ 2467 h 2467"/>
              <a:gd name="T16" fmla="*/ 1889 w 2408"/>
              <a:gd name="T17" fmla="*/ 2467 h 2467"/>
              <a:gd name="T18" fmla="*/ 1933 w 2408"/>
              <a:gd name="T19" fmla="*/ 2007 h 2467"/>
              <a:gd name="T20" fmla="*/ 1741 w 2408"/>
              <a:gd name="T21" fmla="*/ 1598 h 2467"/>
              <a:gd name="T22" fmla="*/ 1983 w 2408"/>
              <a:gd name="T23" fmla="*/ 1079 h 2467"/>
              <a:gd name="T24" fmla="*/ 1983 w 2408"/>
              <a:gd name="T25" fmla="*/ 1398 h 2467"/>
              <a:gd name="T26" fmla="*/ 1991 w 2408"/>
              <a:gd name="T27" fmla="*/ 1398 h 2467"/>
              <a:gd name="T28" fmla="*/ 2023 w 2408"/>
              <a:gd name="T29" fmla="*/ 1067 h 2467"/>
              <a:gd name="T30" fmla="*/ 2161 w 2408"/>
              <a:gd name="T31" fmla="*/ 1067 h 2467"/>
              <a:gd name="T32" fmla="*/ 2167 w 2408"/>
              <a:gd name="T33" fmla="*/ 1067 h 2467"/>
              <a:gd name="T34" fmla="*/ 2167 w 2408"/>
              <a:gd name="T35" fmla="*/ 1388 h 2467"/>
              <a:gd name="T36" fmla="*/ 2408 w 2408"/>
              <a:gd name="T37" fmla="*/ 869 h 2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08" h="2467">
                <a:moveTo>
                  <a:pt x="2408" y="869"/>
                </a:moveTo>
                <a:lnTo>
                  <a:pt x="2217" y="457"/>
                </a:lnTo>
                <a:lnTo>
                  <a:pt x="2167" y="349"/>
                </a:lnTo>
                <a:lnTo>
                  <a:pt x="2167" y="669"/>
                </a:lnTo>
                <a:lnTo>
                  <a:pt x="2059" y="669"/>
                </a:lnTo>
                <a:lnTo>
                  <a:pt x="2123" y="0"/>
                </a:lnTo>
                <a:lnTo>
                  <a:pt x="0" y="0"/>
                </a:lnTo>
                <a:lnTo>
                  <a:pt x="0" y="2467"/>
                </a:lnTo>
                <a:lnTo>
                  <a:pt x="1889" y="2467"/>
                </a:lnTo>
                <a:lnTo>
                  <a:pt x="1933" y="2007"/>
                </a:lnTo>
                <a:lnTo>
                  <a:pt x="1741" y="1598"/>
                </a:lnTo>
                <a:lnTo>
                  <a:pt x="1983" y="1079"/>
                </a:lnTo>
                <a:lnTo>
                  <a:pt x="1983" y="1398"/>
                </a:lnTo>
                <a:lnTo>
                  <a:pt x="1991" y="1398"/>
                </a:lnTo>
                <a:lnTo>
                  <a:pt x="2023" y="1067"/>
                </a:lnTo>
                <a:lnTo>
                  <a:pt x="2161" y="1067"/>
                </a:lnTo>
                <a:lnTo>
                  <a:pt x="2167" y="1067"/>
                </a:lnTo>
                <a:lnTo>
                  <a:pt x="2167" y="1388"/>
                </a:lnTo>
                <a:lnTo>
                  <a:pt x="2408" y="869"/>
                </a:lnTo>
                <a:close/>
              </a:path>
            </a:pathLst>
          </a:custGeom>
          <a:solidFill>
            <a:schemeClr val="accent2"/>
          </a:solidFill>
          <a:ln w="6350" cap="flat">
            <a:solidFill>
              <a:srgbClr val="BBBCBC"/>
            </a:solidFill>
            <a:prstDash val="solid"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ontos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ificuldade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marR="0" lvl="0" indent="-22860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Uso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da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ecnologia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171450" marR="0" lvl="0" indent="-17145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mportação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da base para o SQL</a:t>
            </a:r>
          </a:p>
          <a:p>
            <a:pPr marL="171450" marR="0" lvl="0" indent="-17145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Limpeza</a:t>
            </a:r>
            <a:r>
              <a:rPr lang="en-US" sz="1400" kern="0" dirty="0">
                <a:latin typeface="Calibri" panose="020F0502020204030204" pitchFamily="34" charset="0"/>
                <a:cs typeface="Calibri" panose="020F0502020204030204" pitchFamily="34" charset="0"/>
              </a:rPr>
              <a:t> da base no SQL</a:t>
            </a:r>
          </a:p>
          <a:p>
            <a:pPr marL="171450" marR="0" lvl="0" indent="-17145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Funcionalidade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Power BI</a:t>
            </a:r>
          </a:p>
          <a:p>
            <a:pPr marR="0" lvl="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2) Mindset das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nálises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daptação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formato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iferente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R="0" lvl="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o excel para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realização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das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nálise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0" dirty="0">
                <a:latin typeface="Calibri" panose="020F0502020204030204" pitchFamily="34" charset="0"/>
                <a:cs typeface="Calibri" panose="020F0502020204030204" pitchFamily="34" charset="0"/>
              </a:rPr>
              <a:t>e </a:t>
            </a:r>
            <a:r>
              <a:rPr lang="en-US" sz="14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confronto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defTabSz="957263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">
            <a:hlinkClick r:id="rId2"/>
            <a:extLst>
              <a:ext uri="{FF2B5EF4-FFF2-40B4-BE49-F238E27FC236}">
                <a16:creationId xmlns:a16="http://schemas.microsoft.com/office/drawing/2014/main" id="{AFA38104-5C0D-421E-A729-37CCA4111EF5}"/>
              </a:ext>
            </a:extLst>
          </p:cNvPr>
          <p:cNvSpPr txBox="1"/>
          <p:nvPr/>
        </p:nvSpPr>
        <p:spPr>
          <a:xfrm>
            <a:off x="485775" y="6221272"/>
            <a:ext cx="1052512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6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k </a:t>
            </a:r>
            <a:r>
              <a:rPr lang="pt-BR" sz="1600" b="1" dirty="0" err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pt-BR" sz="16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pt-BR" sz="16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github.com/SbrnBernardo/Sabrina-Bernado/upload/main</a:t>
            </a:r>
          </a:p>
        </p:txBody>
      </p:sp>
    </p:spTree>
    <p:extLst>
      <p:ext uri="{BB962C8B-B14F-4D97-AF65-F5344CB8AC3E}">
        <p14:creationId xmlns:p14="http://schemas.microsoft.com/office/powerpoint/2010/main" val="233142263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3516710" y="875483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58" name="Text Placeholder 9"/>
          <p:cNvSpPr txBox="1">
            <a:spLocks/>
          </p:cNvSpPr>
          <p:nvPr/>
        </p:nvSpPr>
        <p:spPr>
          <a:xfrm>
            <a:off x="364276" y="783962"/>
            <a:ext cx="8352000" cy="4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 dirty="0">
                <a:solidFill>
                  <a:srgbClr val="86BC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genda</a:t>
            </a:r>
          </a:p>
        </p:txBody>
      </p:sp>
      <p:sp>
        <p:nvSpPr>
          <p:cNvPr id="64" name="Title 8"/>
          <p:cNvSpPr txBox="1">
            <a:spLocks/>
          </p:cNvSpPr>
          <p:nvPr/>
        </p:nvSpPr>
        <p:spPr>
          <a:xfrm>
            <a:off x="364276" y="314470"/>
            <a:ext cx="9523043" cy="4694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Projeto Integrador II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381FBDE-BA2C-4160-BB64-DB3E59822CCD}"/>
              </a:ext>
            </a:extLst>
          </p:cNvPr>
          <p:cNvCxnSpPr>
            <a:cxnSpLocks/>
          </p:cNvCxnSpPr>
          <p:nvPr/>
        </p:nvCxnSpPr>
        <p:spPr>
          <a:xfrm>
            <a:off x="6055058" y="1761980"/>
            <a:ext cx="0" cy="4059603"/>
          </a:xfrm>
          <a:prstGeom prst="line">
            <a:avLst/>
          </a:prstGeom>
          <a:ln w="12700">
            <a:solidFill>
              <a:schemeClr val="bg1">
                <a:lumMod val="65000"/>
                <a:alpha val="4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DF0DD284-8DF6-4263-BC4F-CFEAC35E000B}"/>
              </a:ext>
            </a:extLst>
          </p:cNvPr>
          <p:cNvGrpSpPr/>
          <p:nvPr/>
        </p:nvGrpSpPr>
        <p:grpSpPr>
          <a:xfrm>
            <a:off x="1138621" y="2209966"/>
            <a:ext cx="4237892" cy="2482336"/>
            <a:chOff x="1257300" y="2951884"/>
            <a:chExt cx="4237892" cy="2482336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B67A08A-9661-42FD-9AD6-2AFBFE5F33B4}"/>
                </a:ext>
              </a:extLst>
            </p:cNvPr>
            <p:cNvSpPr txBox="1"/>
            <p:nvPr/>
          </p:nvSpPr>
          <p:spPr>
            <a:xfrm>
              <a:off x="1257300" y="2951884"/>
              <a:ext cx="42378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Equipe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0212674-8FAE-4BF9-9C1D-B4B7ED3D0725}"/>
                </a:ext>
              </a:extLst>
            </p:cNvPr>
            <p:cNvSpPr txBox="1"/>
            <p:nvPr/>
          </p:nvSpPr>
          <p:spPr>
            <a:xfrm>
              <a:off x="1257300" y="3634664"/>
              <a:ext cx="42378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Contexto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4705624-CF32-4740-9FAF-4C8277EFA6BF}"/>
                </a:ext>
              </a:extLst>
            </p:cNvPr>
            <p:cNvSpPr txBox="1"/>
            <p:nvPr/>
          </p:nvSpPr>
          <p:spPr>
            <a:xfrm>
              <a:off x="1257300" y="4394593"/>
              <a:ext cx="42378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Metodologia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774038D-1552-4FAB-969F-47FECE3406A7}"/>
                </a:ext>
              </a:extLst>
            </p:cNvPr>
            <p:cNvSpPr txBox="1"/>
            <p:nvPr/>
          </p:nvSpPr>
          <p:spPr>
            <a:xfrm>
              <a:off x="1257300" y="5095666"/>
              <a:ext cx="42378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Resultados</a:t>
              </a:r>
            </a:p>
          </p:txBody>
        </p:sp>
      </p:grpSp>
      <p:grpSp>
        <p:nvGrpSpPr>
          <p:cNvPr id="12" name="Group 432">
            <a:extLst>
              <a:ext uri="{FF2B5EF4-FFF2-40B4-BE49-F238E27FC236}">
                <a16:creationId xmlns:a16="http://schemas.microsoft.com/office/drawing/2014/main" id="{3FE458D7-EA96-4A9D-89ED-FD435BACB4E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4276" y="2115094"/>
            <a:ext cx="504000" cy="505488"/>
            <a:chOff x="3505" y="1546"/>
            <a:chExt cx="340" cy="341"/>
          </a:xfrm>
          <a:solidFill>
            <a:schemeClr val="accent1"/>
          </a:solidFill>
        </p:grpSpPr>
        <p:sp>
          <p:nvSpPr>
            <p:cNvPr id="13" name="Freeform 433">
              <a:extLst>
                <a:ext uri="{FF2B5EF4-FFF2-40B4-BE49-F238E27FC236}">
                  <a16:creationId xmlns:a16="http://schemas.microsoft.com/office/drawing/2014/main" id="{A535AA68-8A70-497C-BE3A-ACC888FD80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9" y="1610"/>
              <a:ext cx="212" cy="213"/>
            </a:xfrm>
            <a:custGeom>
              <a:avLst/>
              <a:gdLst>
                <a:gd name="T0" fmla="*/ 309 w 320"/>
                <a:gd name="T1" fmla="*/ 149 h 320"/>
                <a:gd name="T2" fmla="*/ 287 w 320"/>
                <a:gd name="T3" fmla="*/ 149 h 320"/>
                <a:gd name="T4" fmla="*/ 170 w 320"/>
                <a:gd name="T5" fmla="*/ 32 h 320"/>
                <a:gd name="T6" fmla="*/ 170 w 320"/>
                <a:gd name="T7" fmla="*/ 10 h 320"/>
                <a:gd name="T8" fmla="*/ 160 w 320"/>
                <a:gd name="T9" fmla="*/ 0 h 320"/>
                <a:gd name="T10" fmla="*/ 149 w 320"/>
                <a:gd name="T11" fmla="*/ 10 h 320"/>
                <a:gd name="T12" fmla="*/ 149 w 320"/>
                <a:gd name="T13" fmla="*/ 32 h 320"/>
                <a:gd name="T14" fmla="*/ 32 w 320"/>
                <a:gd name="T15" fmla="*/ 149 h 320"/>
                <a:gd name="T16" fmla="*/ 10 w 320"/>
                <a:gd name="T17" fmla="*/ 149 h 320"/>
                <a:gd name="T18" fmla="*/ 0 w 320"/>
                <a:gd name="T19" fmla="*/ 160 h 320"/>
                <a:gd name="T20" fmla="*/ 10 w 320"/>
                <a:gd name="T21" fmla="*/ 170 h 320"/>
                <a:gd name="T22" fmla="*/ 32 w 320"/>
                <a:gd name="T23" fmla="*/ 170 h 320"/>
                <a:gd name="T24" fmla="*/ 149 w 320"/>
                <a:gd name="T25" fmla="*/ 287 h 320"/>
                <a:gd name="T26" fmla="*/ 149 w 320"/>
                <a:gd name="T27" fmla="*/ 309 h 320"/>
                <a:gd name="T28" fmla="*/ 160 w 320"/>
                <a:gd name="T29" fmla="*/ 320 h 320"/>
                <a:gd name="T30" fmla="*/ 170 w 320"/>
                <a:gd name="T31" fmla="*/ 309 h 320"/>
                <a:gd name="T32" fmla="*/ 170 w 320"/>
                <a:gd name="T33" fmla="*/ 287 h 320"/>
                <a:gd name="T34" fmla="*/ 287 w 320"/>
                <a:gd name="T35" fmla="*/ 170 h 320"/>
                <a:gd name="T36" fmla="*/ 309 w 320"/>
                <a:gd name="T37" fmla="*/ 170 h 320"/>
                <a:gd name="T38" fmla="*/ 320 w 320"/>
                <a:gd name="T39" fmla="*/ 160 h 320"/>
                <a:gd name="T40" fmla="*/ 309 w 320"/>
                <a:gd name="T41" fmla="*/ 149 h 320"/>
                <a:gd name="T42" fmla="*/ 266 w 320"/>
                <a:gd name="T43" fmla="*/ 149 h 320"/>
                <a:gd name="T44" fmla="*/ 233 w 320"/>
                <a:gd name="T45" fmla="*/ 149 h 320"/>
                <a:gd name="T46" fmla="*/ 170 w 320"/>
                <a:gd name="T47" fmla="*/ 86 h 320"/>
                <a:gd name="T48" fmla="*/ 170 w 320"/>
                <a:gd name="T49" fmla="*/ 54 h 320"/>
                <a:gd name="T50" fmla="*/ 266 w 320"/>
                <a:gd name="T51" fmla="*/ 149 h 320"/>
                <a:gd name="T52" fmla="*/ 149 w 320"/>
                <a:gd name="T53" fmla="*/ 149 h 320"/>
                <a:gd name="T54" fmla="*/ 107 w 320"/>
                <a:gd name="T55" fmla="*/ 149 h 320"/>
                <a:gd name="T56" fmla="*/ 149 w 320"/>
                <a:gd name="T57" fmla="*/ 107 h 320"/>
                <a:gd name="T58" fmla="*/ 149 w 320"/>
                <a:gd name="T59" fmla="*/ 149 h 320"/>
                <a:gd name="T60" fmla="*/ 149 w 320"/>
                <a:gd name="T61" fmla="*/ 170 h 320"/>
                <a:gd name="T62" fmla="*/ 149 w 320"/>
                <a:gd name="T63" fmla="*/ 212 h 320"/>
                <a:gd name="T64" fmla="*/ 107 w 320"/>
                <a:gd name="T65" fmla="*/ 170 h 320"/>
                <a:gd name="T66" fmla="*/ 149 w 320"/>
                <a:gd name="T67" fmla="*/ 170 h 320"/>
                <a:gd name="T68" fmla="*/ 170 w 320"/>
                <a:gd name="T69" fmla="*/ 170 h 320"/>
                <a:gd name="T70" fmla="*/ 212 w 320"/>
                <a:gd name="T71" fmla="*/ 170 h 320"/>
                <a:gd name="T72" fmla="*/ 170 w 320"/>
                <a:gd name="T73" fmla="*/ 212 h 320"/>
                <a:gd name="T74" fmla="*/ 170 w 320"/>
                <a:gd name="T75" fmla="*/ 170 h 320"/>
                <a:gd name="T76" fmla="*/ 170 w 320"/>
                <a:gd name="T77" fmla="*/ 149 h 320"/>
                <a:gd name="T78" fmla="*/ 170 w 320"/>
                <a:gd name="T79" fmla="*/ 107 h 320"/>
                <a:gd name="T80" fmla="*/ 212 w 320"/>
                <a:gd name="T81" fmla="*/ 149 h 320"/>
                <a:gd name="T82" fmla="*/ 170 w 320"/>
                <a:gd name="T83" fmla="*/ 149 h 320"/>
                <a:gd name="T84" fmla="*/ 149 w 320"/>
                <a:gd name="T85" fmla="*/ 54 h 320"/>
                <a:gd name="T86" fmla="*/ 149 w 320"/>
                <a:gd name="T87" fmla="*/ 86 h 320"/>
                <a:gd name="T88" fmla="*/ 86 w 320"/>
                <a:gd name="T89" fmla="*/ 149 h 320"/>
                <a:gd name="T90" fmla="*/ 54 w 320"/>
                <a:gd name="T91" fmla="*/ 149 h 320"/>
                <a:gd name="T92" fmla="*/ 149 w 320"/>
                <a:gd name="T93" fmla="*/ 54 h 320"/>
                <a:gd name="T94" fmla="*/ 54 w 320"/>
                <a:gd name="T95" fmla="*/ 170 h 320"/>
                <a:gd name="T96" fmla="*/ 86 w 320"/>
                <a:gd name="T97" fmla="*/ 170 h 320"/>
                <a:gd name="T98" fmla="*/ 149 w 320"/>
                <a:gd name="T99" fmla="*/ 233 h 320"/>
                <a:gd name="T100" fmla="*/ 149 w 320"/>
                <a:gd name="T101" fmla="*/ 266 h 320"/>
                <a:gd name="T102" fmla="*/ 54 w 320"/>
                <a:gd name="T103" fmla="*/ 170 h 320"/>
                <a:gd name="T104" fmla="*/ 170 w 320"/>
                <a:gd name="T105" fmla="*/ 266 h 320"/>
                <a:gd name="T106" fmla="*/ 170 w 320"/>
                <a:gd name="T107" fmla="*/ 233 h 320"/>
                <a:gd name="T108" fmla="*/ 233 w 320"/>
                <a:gd name="T109" fmla="*/ 170 h 320"/>
                <a:gd name="T110" fmla="*/ 266 w 320"/>
                <a:gd name="T111" fmla="*/ 170 h 320"/>
                <a:gd name="T112" fmla="*/ 170 w 320"/>
                <a:gd name="T113" fmla="*/ 26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320">
                  <a:moveTo>
                    <a:pt x="309" y="149"/>
                  </a:moveTo>
                  <a:cubicBezTo>
                    <a:pt x="287" y="149"/>
                    <a:pt x="287" y="149"/>
                    <a:pt x="287" y="149"/>
                  </a:cubicBezTo>
                  <a:cubicBezTo>
                    <a:pt x="282" y="87"/>
                    <a:pt x="232" y="37"/>
                    <a:pt x="170" y="32"/>
                  </a:cubicBezTo>
                  <a:cubicBezTo>
                    <a:pt x="170" y="10"/>
                    <a:pt x="170" y="10"/>
                    <a:pt x="170" y="10"/>
                  </a:cubicBezTo>
                  <a:cubicBezTo>
                    <a:pt x="170" y="4"/>
                    <a:pt x="166" y="0"/>
                    <a:pt x="160" y="0"/>
                  </a:cubicBezTo>
                  <a:cubicBezTo>
                    <a:pt x="154" y="0"/>
                    <a:pt x="149" y="4"/>
                    <a:pt x="149" y="10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87" y="37"/>
                    <a:pt x="37" y="87"/>
                    <a:pt x="32" y="14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4" y="149"/>
                    <a:pt x="0" y="154"/>
                    <a:pt x="0" y="160"/>
                  </a:cubicBezTo>
                  <a:cubicBezTo>
                    <a:pt x="0" y="166"/>
                    <a:pt x="4" y="170"/>
                    <a:pt x="10" y="170"/>
                  </a:cubicBezTo>
                  <a:cubicBezTo>
                    <a:pt x="32" y="170"/>
                    <a:pt x="32" y="170"/>
                    <a:pt x="32" y="170"/>
                  </a:cubicBezTo>
                  <a:cubicBezTo>
                    <a:pt x="37" y="232"/>
                    <a:pt x="87" y="282"/>
                    <a:pt x="149" y="287"/>
                  </a:cubicBezTo>
                  <a:cubicBezTo>
                    <a:pt x="149" y="309"/>
                    <a:pt x="149" y="309"/>
                    <a:pt x="149" y="309"/>
                  </a:cubicBezTo>
                  <a:cubicBezTo>
                    <a:pt x="149" y="315"/>
                    <a:pt x="154" y="320"/>
                    <a:pt x="160" y="320"/>
                  </a:cubicBezTo>
                  <a:cubicBezTo>
                    <a:pt x="166" y="320"/>
                    <a:pt x="170" y="315"/>
                    <a:pt x="170" y="309"/>
                  </a:cubicBezTo>
                  <a:cubicBezTo>
                    <a:pt x="170" y="287"/>
                    <a:pt x="170" y="287"/>
                    <a:pt x="170" y="287"/>
                  </a:cubicBezTo>
                  <a:cubicBezTo>
                    <a:pt x="232" y="282"/>
                    <a:pt x="282" y="232"/>
                    <a:pt x="287" y="170"/>
                  </a:cubicBezTo>
                  <a:cubicBezTo>
                    <a:pt x="309" y="170"/>
                    <a:pt x="309" y="170"/>
                    <a:pt x="309" y="170"/>
                  </a:cubicBezTo>
                  <a:cubicBezTo>
                    <a:pt x="315" y="170"/>
                    <a:pt x="320" y="166"/>
                    <a:pt x="320" y="160"/>
                  </a:cubicBezTo>
                  <a:cubicBezTo>
                    <a:pt x="320" y="154"/>
                    <a:pt x="315" y="149"/>
                    <a:pt x="309" y="149"/>
                  </a:cubicBezTo>
                  <a:close/>
                  <a:moveTo>
                    <a:pt x="266" y="149"/>
                  </a:moveTo>
                  <a:cubicBezTo>
                    <a:pt x="233" y="149"/>
                    <a:pt x="233" y="149"/>
                    <a:pt x="233" y="149"/>
                  </a:cubicBezTo>
                  <a:cubicBezTo>
                    <a:pt x="229" y="116"/>
                    <a:pt x="203" y="91"/>
                    <a:pt x="170" y="86"/>
                  </a:cubicBezTo>
                  <a:cubicBezTo>
                    <a:pt x="170" y="54"/>
                    <a:pt x="170" y="54"/>
                    <a:pt x="170" y="54"/>
                  </a:cubicBezTo>
                  <a:cubicBezTo>
                    <a:pt x="221" y="59"/>
                    <a:pt x="261" y="99"/>
                    <a:pt x="266" y="149"/>
                  </a:cubicBezTo>
                  <a:close/>
                  <a:moveTo>
                    <a:pt x="149" y="149"/>
                  </a:moveTo>
                  <a:cubicBezTo>
                    <a:pt x="107" y="149"/>
                    <a:pt x="107" y="149"/>
                    <a:pt x="107" y="149"/>
                  </a:cubicBezTo>
                  <a:cubicBezTo>
                    <a:pt x="112" y="128"/>
                    <a:pt x="128" y="112"/>
                    <a:pt x="149" y="107"/>
                  </a:cubicBezTo>
                  <a:lnTo>
                    <a:pt x="149" y="149"/>
                  </a:lnTo>
                  <a:close/>
                  <a:moveTo>
                    <a:pt x="149" y="170"/>
                  </a:moveTo>
                  <a:cubicBezTo>
                    <a:pt x="149" y="212"/>
                    <a:pt x="149" y="212"/>
                    <a:pt x="149" y="212"/>
                  </a:cubicBezTo>
                  <a:cubicBezTo>
                    <a:pt x="128" y="208"/>
                    <a:pt x="112" y="191"/>
                    <a:pt x="107" y="170"/>
                  </a:cubicBezTo>
                  <a:lnTo>
                    <a:pt x="149" y="170"/>
                  </a:lnTo>
                  <a:close/>
                  <a:moveTo>
                    <a:pt x="170" y="170"/>
                  </a:moveTo>
                  <a:cubicBezTo>
                    <a:pt x="212" y="170"/>
                    <a:pt x="212" y="170"/>
                    <a:pt x="212" y="170"/>
                  </a:cubicBezTo>
                  <a:cubicBezTo>
                    <a:pt x="208" y="191"/>
                    <a:pt x="191" y="208"/>
                    <a:pt x="170" y="212"/>
                  </a:cubicBezTo>
                  <a:lnTo>
                    <a:pt x="170" y="170"/>
                  </a:lnTo>
                  <a:close/>
                  <a:moveTo>
                    <a:pt x="170" y="149"/>
                  </a:moveTo>
                  <a:cubicBezTo>
                    <a:pt x="170" y="107"/>
                    <a:pt x="170" y="107"/>
                    <a:pt x="170" y="107"/>
                  </a:cubicBezTo>
                  <a:cubicBezTo>
                    <a:pt x="191" y="112"/>
                    <a:pt x="208" y="128"/>
                    <a:pt x="212" y="149"/>
                  </a:cubicBezTo>
                  <a:lnTo>
                    <a:pt x="170" y="149"/>
                  </a:lnTo>
                  <a:close/>
                  <a:moveTo>
                    <a:pt x="149" y="54"/>
                  </a:moveTo>
                  <a:cubicBezTo>
                    <a:pt x="149" y="86"/>
                    <a:pt x="149" y="86"/>
                    <a:pt x="149" y="86"/>
                  </a:cubicBezTo>
                  <a:cubicBezTo>
                    <a:pt x="116" y="91"/>
                    <a:pt x="91" y="116"/>
                    <a:pt x="86" y="149"/>
                  </a:cubicBezTo>
                  <a:cubicBezTo>
                    <a:pt x="54" y="149"/>
                    <a:pt x="54" y="149"/>
                    <a:pt x="54" y="149"/>
                  </a:cubicBezTo>
                  <a:cubicBezTo>
                    <a:pt x="59" y="99"/>
                    <a:pt x="99" y="59"/>
                    <a:pt x="149" y="54"/>
                  </a:cubicBezTo>
                  <a:close/>
                  <a:moveTo>
                    <a:pt x="54" y="170"/>
                  </a:moveTo>
                  <a:cubicBezTo>
                    <a:pt x="86" y="170"/>
                    <a:pt x="86" y="170"/>
                    <a:pt x="86" y="170"/>
                  </a:cubicBezTo>
                  <a:cubicBezTo>
                    <a:pt x="91" y="203"/>
                    <a:pt x="116" y="229"/>
                    <a:pt x="149" y="233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99" y="261"/>
                    <a:pt x="59" y="221"/>
                    <a:pt x="54" y="170"/>
                  </a:cubicBezTo>
                  <a:close/>
                  <a:moveTo>
                    <a:pt x="170" y="266"/>
                  </a:moveTo>
                  <a:cubicBezTo>
                    <a:pt x="170" y="233"/>
                    <a:pt x="170" y="233"/>
                    <a:pt x="170" y="233"/>
                  </a:cubicBezTo>
                  <a:cubicBezTo>
                    <a:pt x="203" y="229"/>
                    <a:pt x="229" y="203"/>
                    <a:pt x="233" y="170"/>
                  </a:cubicBezTo>
                  <a:cubicBezTo>
                    <a:pt x="266" y="170"/>
                    <a:pt x="266" y="170"/>
                    <a:pt x="266" y="170"/>
                  </a:cubicBezTo>
                  <a:cubicBezTo>
                    <a:pt x="261" y="221"/>
                    <a:pt x="221" y="261"/>
                    <a:pt x="170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434">
              <a:extLst>
                <a:ext uri="{FF2B5EF4-FFF2-40B4-BE49-F238E27FC236}">
                  <a16:creationId xmlns:a16="http://schemas.microsoft.com/office/drawing/2014/main" id="{B12EEC6C-5286-4B52-8884-424A4437C7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5" y="1546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5" name="Group 614">
            <a:extLst>
              <a:ext uri="{FF2B5EF4-FFF2-40B4-BE49-F238E27FC236}">
                <a16:creationId xmlns:a16="http://schemas.microsoft.com/office/drawing/2014/main" id="{F88A3D89-D046-48CA-9B52-0257D7BDED4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4014" y="3527593"/>
            <a:ext cx="504000" cy="504000"/>
            <a:chOff x="3780" y="2658"/>
            <a:chExt cx="340" cy="340"/>
          </a:xfrm>
          <a:solidFill>
            <a:schemeClr val="accent1"/>
          </a:solidFill>
        </p:grpSpPr>
        <p:sp>
          <p:nvSpPr>
            <p:cNvPr id="16" name="Freeform 615">
              <a:extLst>
                <a:ext uri="{FF2B5EF4-FFF2-40B4-BE49-F238E27FC236}">
                  <a16:creationId xmlns:a16="http://schemas.microsoft.com/office/drawing/2014/main" id="{DA8ED73B-8C1E-4619-BB9C-19460B426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799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616">
              <a:extLst>
                <a:ext uri="{FF2B5EF4-FFF2-40B4-BE49-F238E27FC236}">
                  <a16:creationId xmlns:a16="http://schemas.microsoft.com/office/drawing/2014/main" id="{CE81F8B6-F862-4C2D-A5E6-FAF57F8D4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757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17">
              <a:extLst>
                <a:ext uri="{FF2B5EF4-FFF2-40B4-BE49-F238E27FC236}">
                  <a16:creationId xmlns:a16="http://schemas.microsoft.com/office/drawing/2014/main" id="{23179A76-1529-4B1A-9AE9-1D433BD2A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842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618">
              <a:extLst>
                <a:ext uri="{FF2B5EF4-FFF2-40B4-BE49-F238E27FC236}">
                  <a16:creationId xmlns:a16="http://schemas.microsoft.com/office/drawing/2014/main" id="{984118C8-3233-48E1-BE49-9AE757CFD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799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619">
              <a:extLst>
                <a:ext uri="{FF2B5EF4-FFF2-40B4-BE49-F238E27FC236}">
                  <a16:creationId xmlns:a16="http://schemas.microsoft.com/office/drawing/2014/main" id="{B6DA496F-30F7-4A69-8FBC-F87BA6D817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757"/>
              <a:ext cx="135" cy="14"/>
            </a:xfrm>
            <a:custGeom>
              <a:avLst/>
              <a:gdLst>
                <a:gd name="T0" fmla="*/ 10 w 202"/>
                <a:gd name="T1" fmla="*/ 21 h 21"/>
                <a:gd name="T2" fmla="*/ 192 w 202"/>
                <a:gd name="T3" fmla="*/ 21 h 21"/>
                <a:gd name="T4" fmla="*/ 202 w 202"/>
                <a:gd name="T5" fmla="*/ 11 h 21"/>
                <a:gd name="T6" fmla="*/ 192 w 202"/>
                <a:gd name="T7" fmla="*/ 0 h 21"/>
                <a:gd name="T8" fmla="*/ 10 w 202"/>
                <a:gd name="T9" fmla="*/ 0 h 21"/>
                <a:gd name="T10" fmla="*/ 0 w 202"/>
                <a:gd name="T11" fmla="*/ 11 h 21"/>
                <a:gd name="T12" fmla="*/ 10 w 202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0" y="21"/>
                  </a:move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620">
              <a:extLst>
                <a:ext uri="{FF2B5EF4-FFF2-40B4-BE49-F238E27FC236}">
                  <a16:creationId xmlns:a16="http://schemas.microsoft.com/office/drawing/2014/main" id="{D224C590-F1D5-4D4F-82A3-490EF3F94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842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621">
              <a:extLst>
                <a:ext uri="{FF2B5EF4-FFF2-40B4-BE49-F238E27FC236}">
                  <a16:creationId xmlns:a16="http://schemas.microsoft.com/office/drawing/2014/main" id="{5F4250DD-67A2-4A0A-9EDB-5BC0E025A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884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622">
              <a:extLst>
                <a:ext uri="{FF2B5EF4-FFF2-40B4-BE49-F238E27FC236}">
                  <a16:creationId xmlns:a16="http://schemas.microsoft.com/office/drawing/2014/main" id="{2401A0F0-8ABC-4E49-9A38-6FC89380B1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884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623">
              <a:extLst>
                <a:ext uri="{FF2B5EF4-FFF2-40B4-BE49-F238E27FC236}">
                  <a16:creationId xmlns:a16="http://schemas.microsoft.com/office/drawing/2014/main" id="{AE9DCAAC-E7B3-449C-A699-16582B1D35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0" y="265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6" name="Group 245">
            <a:extLst>
              <a:ext uri="{FF2B5EF4-FFF2-40B4-BE49-F238E27FC236}">
                <a16:creationId xmlns:a16="http://schemas.microsoft.com/office/drawing/2014/main" id="{977B3F7F-841E-402A-9FC3-D7A7B97C5C6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3229" y="4913076"/>
            <a:ext cx="504000" cy="504000"/>
            <a:chOff x="3480" y="792"/>
            <a:chExt cx="340" cy="340"/>
          </a:xfrm>
          <a:solidFill>
            <a:schemeClr val="accent1"/>
          </a:solidFill>
        </p:grpSpPr>
        <p:sp>
          <p:nvSpPr>
            <p:cNvPr id="27" name="Freeform 246">
              <a:extLst>
                <a:ext uri="{FF2B5EF4-FFF2-40B4-BE49-F238E27FC236}">
                  <a16:creationId xmlns:a16="http://schemas.microsoft.com/office/drawing/2014/main" id="{8D42FDAC-5AC3-40D1-A768-1E3897FBA0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0" y="79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47">
              <a:extLst>
                <a:ext uri="{FF2B5EF4-FFF2-40B4-BE49-F238E27FC236}">
                  <a16:creationId xmlns:a16="http://schemas.microsoft.com/office/drawing/2014/main" id="{D094B7A9-0CDF-441A-BDF9-EC3E229B37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4" y="884"/>
              <a:ext cx="212" cy="184"/>
            </a:xfrm>
            <a:custGeom>
              <a:avLst/>
              <a:gdLst>
                <a:gd name="T0" fmla="*/ 309 w 320"/>
                <a:gd name="T1" fmla="*/ 0 h 278"/>
                <a:gd name="T2" fmla="*/ 10 w 320"/>
                <a:gd name="T3" fmla="*/ 0 h 278"/>
                <a:gd name="T4" fmla="*/ 0 w 320"/>
                <a:gd name="T5" fmla="*/ 11 h 278"/>
                <a:gd name="T6" fmla="*/ 0 w 320"/>
                <a:gd name="T7" fmla="*/ 203 h 278"/>
                <a:gd name="T8" fmla="*/ 10 w 320"/>
                <a:gd name="T9" fmla="*/ 214 h 278"/>
                <a:gd name="T10" fmla="*/ 53 w 320"/>
                <a:gd name="T11" fmla="*/ 214 h 278"/>
                <a:gd name="T12" fmla="*/ 53 w 320"/>
                <a:gd name="T13" fmla="*/ 267 h 278"/>
                <a:gd name="T14" fmla="*/ 60 w 320"/>
                <a:gd name="T15" fmla="*/ 277 h 278"/>
                <a:gd name="T16" fmla="*/ 64 w 320"/>
                <a:gd name="T17" fmla="*/ 278 h 278"/>
                <a:gd name="T18" fmla="*/ 72 w 320"/>
                <a:gd name="T19" fmla="*/ 274 h 278"/>
                <a:gd name="T20" fmla="*/ 122 w 320"/>
                <a:gd name="T21" fmla="*/ 214 h 278"/>
                <a:gd name="T22" fmla="*/ 309 w 320"/>
                <a:gd name="T23" fmla="*/ 214 h 278"/>
                <a:gd name="T24" fmla="*/ 320 w 320"/>
                <a:gd name="T25" fmla="*/ 203 h 278"/>
                <a:gd name="T26" fmla="*/ 320 w 320"/>
                <a:gd name="T27" fmla="*/ 11 h 278"/>
                <a:gd name="T28" fmla="*/ 309 w 320"/>
                <a:gd name="T29" fmla="*/ 0 h 278"/>
                <a:gd name="T30" fmla="*/ 298 w 320"/>
                <a:gd name="T31" fmla="*/ 192 h 278"/>
                <a:gd name="T32" fmla="*/ 117 w 320"/>
                <a:gd name="T33" fmla="*/ 192 h 278"/>
                <a:gd name="T34" fmla="*/ 109 w 320"/>
                <a:gd name="T35" fmla="*/ 196 h 278"/>
                <a:gd name="T36" fmla="*/ 74 w 320"/>
                <a:gd name="T37" fmla="*/ 238 h 278"/>
                <a:gd name="T38" fmla="*/ 74 w 320"/>
                <a:gd name="T39" fmla="*/ 203 h 278"/>
                <a:gd name="T40" fmla="*/ 64 w 320"/>
                <a:gd name="T41" fmla="*/ 192 h 278"/>
                <a:gd name="T42" fmla="*/ 21 w 320"/>
                <a:gd name="T43" fmla="*/ 192 h 278"/>
                <a:gd name="T44" fmla="*/ 21 w 320"/>
                <a:gd name="T45" fmla="*/ 22 h 278"/>
                <a:gd name="T46" fmla="*/ 298 w 320"/>
                <a:gd name="T47" fmla="*/ 22 h 278"/>
                <a:gd name="T48" fmla="*/ 298 w 320"/>
                <a:gd name="T49" fmla="*/ 19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0" h="278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09"/>
                    <a:pt x="4" y="214"/>
                    <a:pt x="10" y="214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67"/>
                    <a:pt x="53" y="267"/>
                    <a:pt x="53" y="267"/>
                  </a:cubicBezTo>
                  <a:cubicBezTo>
                    <a:pt x="53" y="271"/>
                    <a:pt x="56" y="276"/>
                    <a:pt x="60" y="277"/>
                  </a:cubicBezTo>
                  <a:cubicBezTo>
                    <a:pt x="61" y="277"/>
                    <a:pt x="62" y="278"/>
                    <a:pt x="64" y="278"/>
                  </a:cubicBezTo>
                  <a:cubicBezTo>
                    <a:pt x="67" y="278"/>
                    <a:pt x="70" y="276"/>
                    <a:pt x="72" y="274"/>
                  </a:cubicBezTo>
                  <a:cubicBezTo>
                    <a:pt x="122" y="214"/>
                    <a:pt x="122" y="214"/>
                    <a:pt x="122" y="214"/>
                  </a:cubicBezTo>
                  <a:cubicBezTo>
                    <a:pt x="309" y="214"/>
                    <a:pt x="309" y="214"/>
                    <a:pt x="309" y="214"/>
                  </a:cubicBezTo>
                  <a:cubicBezTo>
                    <a:pt x="315" y="214"/>
                    <a:pt x="320" y="209"/>
                    <a:pt x="320" y="203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192"/>
                  </a:moveTo>
                  <a:cubicBezTo>
                    <a:pt x="117" y="192"/>
                    <a:pt x="117" y="192"/>
                    <a:pt x="117" y="192"/>
                  </a:cubicBezTo>
                  <a:cubicBezTo>
                    <a:pt x="114" y="192"/>
                    <a:pt x="111" y="194"/>
                    <a:pt x="109" y="196"/>
                  </a:cubicBezTo>
                  <a:cubicBezTo>
                    <a:pt x="74" y="238"/>
                    <a:pt x="74" y="238"/>
                    <a:pt x="74" y="238"/>
                  </a:cubicBezTo>
                  <a:cubicBezTo>
                    <a:pt x="74" y="203"/>
                    <a:pt x="74" y="203"/>
                    <a:pt x="74" y="203"/>
                  </a:cubicBezTo>
                  <a:cubicBezTo>
                    <a:pt x="74" y="197"/>
                    <a:pt x="70" y="192"/>
                    <a:pt x="64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98" y="22"/>
                    <a:pt x="298" y="22"/>
                    <a:pt x="298" y="22"/>
                  </a:cubicBezTo>
                  <a:lnTo>
                    <a:pt x="298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48">
              <a:extLst>
                <a:ext uri="{FF2B5EF4-FFF2-40B4-BE49-F238E27FC236}">
                  <a16:creationId xmlns:a16="http://schemas.microsoft.com/office/drawing/2014/main" id="{8F105B5E-7D0C-4CE8-A018-3EA7F6C9CC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2" y="919"/>
              <a:ext cx="156" cy="14"/>
            </a:xfrm>
            <a:custGeom>
              <a:avLst/>
              <a:gdLst>
                <a:gd name="T0" fmla="*/ 11 w 235"/>
                <a:gd name="T1" fmla="*/ 21 h 21"/>
                <a:gd name="T2" fmla="*/ 224 w 235"/>
                <a:gd name="T3" fmla="*/ 21 h 21"/>
                <a:gd name="T4" fmla="*/ 235 w 235"/>
                <a:gd name="T5" fmla="*/ 10 h 21"/>
                <a:gd name="T6" fmla="*/ 224 w 235"/>
                <a:gd name="T7" fmla="*/ 0 h 21"/>
                <a:gd name="T8" fmla="*/ 11 w 235"/>
                <a:gd name="T9" fmla="*/ 0 h 21"/>
                <a:gd name="T10" fmla="*/ 0 w 235"/>
                <a:gd name="T11" fmla="*/ 10 h 21"/>
                <a:gd name="T12" fmla="*/ 11 w 235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1">
                  <a:moveTo>
                    <a:pt x="11" y="21"/>
                  </a:moveTo>
                  <a:cubicBezTo>
                    <a:pt x="224" y="21"/>
                    <a:pt x="224" y="21"/>
                    <a:pt x="224" y="21"/>
                  </a:cubicBezTo>
                  <a:cubicBezTo>
                    <a:pt x="230" y="21"/>
                    <a:pt x="235" y="16"/>
                    <a:pt x="235" y="10"/>
                  </a:cubicBezTo>
                  <a:cubicBezTo>
                    <a:pt x="235" y="4"/>
                    <a:pt x="230" y="0"/>
                    <a:pt x="224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49">
              <a:extLst>
                <a:ext uri="{FF2B5EF4-FFF2-40B4-BE49-F238E27FC236}">
                  <a16:creationId xmlns:a16="http://schemas.microsoft.com/office/drawing/2014/main" id="{ED0BB1BE-EEC4-4E21-A4EC-E131BFF89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2" y="947"/>
              <a:ext cx="156" cy="15"/>
            </a:xfrm>
            <a:custGeom>
              <a:avLst/>
              <a:gdLst>
                <a:gd name="T0" fmla="*/ 11 w 235"/>
                <a:gd name="T1" fmla="*/ 22 h 22"/>
                <a:gd name="T2" fmla="*/ 224 w 235"/>
                <a:gd name="T3" fmla="*/ 22 h 22"/>
                <a:gd name="T4" fmla="*/ 235 w 235"/>
                <a:gd name="T5" fmla="*/ 11 h 22"/>
                <a:gd name="T6" fmla="*/ 224 w 235"/>
                <a:gd name="T7" fmla="*/ 0 h 22"/>
                <a:gd name="T8" fmla="*/ 11 w 235"/>
                <a:gd name="T9" fmla="*/ 0 h 22"/>
                <a:gd name="T10" fmla="*/ 0 w 235"/>
                <a:gd name="T11" fmla="*/ 11 h 22"/>
                <a:gd name="T12" fmla="*/ 11 w 23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2">
                  <a:moveTo>
                    <a:pt x="11" y="22"/>
                  </a:moveTo>
                  <a:cubicBezTo>
                    <a:pt x="224" y="22"/>
                    <a:pt x="224" y="22"/>
                    <a:pt x="224" y="22"/>
                  </a:cubicBezTo>
                  <a:cubicBezTo>
                    <a:pt x="230" y="22"/>
                    <a:pt x="235" y="17"/>
                    <a:pt x="235" y="11"/>
                  </a:cubicBezTo>
                  <a:cubicBezTo>
                    <a:pt x="235" y="5"/>
                    <a:pt x="230" y="0"/>
                    <a:pt x="224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50">
              <a:extLst>
                <a:ext uri="{FF2B5EF4-FFF2-40B4-BE49-F238E27FC236}">
                  <a16:creationId xmlns:a16="http://schemas.microsoft.com/office/drawing/2014/main" id="{29305578-1A1E-478D-BEF6-ED56C881B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2" y="976"/>
              <a:ext cx="156" cy="14"/>
            </a:xfrm>
            <a:custGeom>
              <a:avLst/>
              <a:gdLst>
                <a:gd name="T0" fmla="*/ 11 w 235"/>
                <a:gd name="T1" fmla="*/ 21 h 21"/>
                <a:gd name="T2" fmla="*/ 224 w 235"/>
                <a:gd name="T3" fmla="*/ 21 h 21"/>
                <a:gd name="T4" fmla="*/ 235 w 235"/>
                <a:gd name="T5" fmla="*/ 11 h 21"/>
                <a:gd name="T6" fmla="*/ 224 w 235"/>
                <a:gd name="T7" fmla="*/ 0 h 21"/>
                <a:gd name="T8" fmla="*/ 11 w 235"/>
                <a:gd name="T9" fmla="*/ 0 h 21"/>
                <a:gd name="T10" fmla="*/ 0 w 235"/>
                <a:gd name="T11" fmla="*/ 11 h 21"/>
                <a:gd name="T12" fmla="*/ 11 w 235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1">
                  <a:moveTo>
                    <a:pt x="11" y="21"/>
                  </a:moveTo>
                  <a:cubicBezTo>
                    <a:pt x="224" y="21"/>
                    <a:pt x="224" y="21"/>
                    <a:pt x="224" y="21"/>
                  </a:cubicBezTo>
                  <a:cubicBezTo>
                    <a:pt x="230" y="21"/>
                    <a:pt x="235" y="17"/>
                    <a:pt x="235" y="11"/>
                  </a:cubicBezTo>
                  <a:cubicBezTo>
                    <a:pt x="235" y="5"/>
                    <a:pt x="230" y="0"/>
                    <a:pt x="224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2" name="Group 861">
            <a:extLst>
              <a:ext uri="{FF2B5EF4-FFF2-40B4-BE49-F238E27FC236}">
                <a16:creationId xmlns:a16="http://schemas.microsoft.com/office/drawing/2014/main" id="{1FF29C08-405A-4729-B2E6-A3902286F4A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3752" y="4190961"/>
            <a:ext cx="504000" cy="504000"/>
            <a:chOff x="5813" y="3162"/>
            <a:chExt cx="340" cy="340"/>
          </a:xfrm>
          <a:solidFill>
            <a:schemeClr val="accent1"/>
          </a:solidFill>
        </p:grpSpPr>
        <p:sp>
          <p:nvSpPr>
            <p:cNvPr id="33" name="Freeform 862">
              <a:extLst>
                <a:ext uri="{FF2B5EF4-FFF2-40B4-BE49-F238E27FC236}">
                  <a16:creationId xmlns:a16="http://schemas.microsoft.com/office/drawing/2014/main" id="{F27FE8E6-7F70-4F3C-8201-0437A923F6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3" y="316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863">
              <a:extLst>
                <a:ext uri="{FF2B5EF4-FFF2-40B4-BE49-F238E27FC236}">
                  <a16:creationId xmlns:a16="http://schemas.microsoft.com/office/drawing/2014/main" id="{C81D83FD-CE2D-4760-AE01-57CBE30968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05" y="3216"/>
              <a:ext cx="156" cy="208"/>
            </a:xfrm>
            <a:custGeom>
              <a:avLst/>
              <a:gdLst>
                <a:gd name="T0" fmla="*/ 11 w 235"/>
                <a:gd name="T1" fmla="*/ 313 h 313"/>
                <a:gd name="T2" fmla="*/ 0 w 235"/>
                <a:gd name="T3" fmla="*/ 303 h 313"/>
                <a:gd name="T4" fmla="*/ 0 w 235"/>
                <a:gd name="T5" fmla="*/ 47 h 313"/>
                <a:gd name="T6" fmla="*/ 5 w 235"/>
                <a:gd name="T7" fmla="*/ 38 h 313"/>
                <a:gd name="T8" fmla="*/ 125 w 235"/>
                <a:gd name="T9" fmla="*/ 39 h 313"/>
                <a:gd name="T10" fmla="*/ 218 w 235"/>
                <a:gd name="T11" fmla="*/ 38 h 313"/>
                <a:gd name="T12" fmla="*/ 229 w 235"/>
                <a:gd name="T13" fmla="*/ 37 h 313"/>
                <a:gd name="T14" fmla="*/ 235 w 235"/>
                <a:gd name="T15" fmla="*/ 47 h 313"/>
                <a:gd name="T16" fmla="*/ 235 w 235"/>
                <a:gd name="T17" fmla="*/ 185 h 313"/>
                <a:gd name="T18" fmla="*/ 230 w 235"/>
                <a:gd name="T19" fmla="*/ 194 h 313"/>
                <a:gd name="T20" fmla="*/ 110 w 235"/>
                <a:gd name="T21" fmla="*/ 193 h 313"/>
                <a:gd name="T22" fmla="*/ 22 w 235"/>
                <a:gd name="T23" fmla="*/ 191 h 313"/>
                <a:gd name="T24" fmla="*/ 22 w 235"/>
                <a:gd name="T25" fmla="*/ 303 h 313"/>
                <a:gd name="T26" fmla="*/ 11 w 235"/>
                <a:gd name="T27" fmla="*/ 313 h 313"/>
                <a:gd name="T28" fmla="*/ 70 w 235"/>
                <a:gd name="T29" fmla="*/ 155 h 313"/>
                <a:gd name="T30" fmla="*/ 125 w 235"/>
                <a:gd name="T31" fmla="*/ 178 h 313"/>
                <a:gd name="T32" fmla="*/ 214 w 235"/>
                <a:gd name="T33" fmla="*/ 179 h 313"/>
                <a:gd name="T34" fmla="*/ 214 w 235"/>
                <a:gd name="T35" fmla="*/ 65 h 313"/>
                <a:gd name="T36" fmla="*/ 110 w 235"/>
                <a:gd name="T37" fmla="*/ 54 h 313"/>
                <a:gd name="T38" fmla="*/ 22 w 235"/>
                <a:gd name="T39" fmla="*/ 53 h 313"/>
                <a:gd name="T40" fmla="*/ 22 w 235"/>
                <a:gd name="T41" fmla="*/ 167 h 313"/>
                <a:gd name="T42" fmla="*/ 70 w 235"/>
                <a:gd name="T43" fmla="*/ 155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5" h="313">
                  <a:moveTo>
                    <a:pt x="11" y="313"/>
                  </a:moveTo>
                  <a:cubicBezTo>
                    <a:pt x="5" y="313"/>
                    <a:pt x="0" y="309"/>
                    <a:pt x="0" y="303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3"/>
                    <a:pt x="2" y="40"/>
                    <a:pt x="5" y="38"/>
                  </a:cubicBezTo>
                  <a:cubicBezTo>
                    <a:pt x="29" y="21"/>
                    <a:pt x="86" y="0"/>
                    <a:pt x="125" y="39"/>
                  </a:cubicBezTo>
                  <a:cubicBezTo>
                    <a:pt x="161" y="75"/>
                    <a:pt x="218" y="38"/>
                    <a:pt x="218" y="38"/>
                  </a:cubicBezTo>
                  <a:cubicBezTo>
                    <a:pt x="222" y="36"/>
                    <a:pt x="226" y="35"/>
                    <a:pt x="229" y="37"/>
                  </a:cubicBezTo>
                  <a:cubicBezTo>
                    <a:pt x="233" y="39"/>
                    <a:pt x="235" y="43"/>
                    <a:pt x="235" y="47"/>
                  </a:cubicBezTo>
                  <a:cubicBezTo>
                    <a:pt x="235" y="185"/>
                    <a:pt x="235" y="185"/>
                    <a:pt x="235" y="185"/>
                  </a:cubicBezTo>
                  <a:cubicBezTo>
                    <a:pt x="235" y="189"/>
                    <a:pt x="233" y="192"/>
                    <a:pt x="230" y="194"/>
                  </a:cubicBezTo>
                  <a:cubicBezTo>
                    <a:pt x="205" y="211"/>
                    <a:pt x="148" y="231"/>
                    <a:pt x="110" y="193"/>
                  </a:cubicBezTo>
                  <a:cubicBezTo>
                    <a:pt x="79" y="162"/>
                    <a:pt x="36" y="183"/>
                    <a:pt x="22" y="191"/>
                  </a:cubicBezTo>
                  <a:cubicBezTo>
                    <a:pt x="22" y="303"/>
                    <a:pt x="22" y="303"/>
                    <a:pt x="22" y="303"/>
                  </a:cubicBezTo>
                  <a:cubicBezTo>
                    <a:pt x="22" y="309"/>
                    <a:pt x="17" y="313"/>
                    <a:pt x="11" y="313"/>
                  </a:cubicBezTo>
                  <a:close/>
                  <a:moveTo>
                    <a:pt x="70" y="155"/>
                  </a:moveTo>
                  <a:cubicBezTo>
                    <a:pt x="89" y="155"/>
                    <a:pt x="109" y="161"/>
                    <a:pt x="125" y="178"/>
                  </a:cubicBezTo>
                  <a:cubicBezTo>
                    <a:pt x="155" y="207"/>
                    <a:pt x="199" y="187"/>
                    <a:pt x="214" y="179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185" y="78"/>
                    <a:pt x="142" y="86"/>
                    <a:pt x="110" y="54"/>
                  </a:cubicBezTo>
                  <a:cubicBezTo>
                    <a:pt x="80" y="24"/>
                    <a:pt x="36" y="45"/>
                    <a:pt x="22" y="53"/>
                  </a:cubicBezTo>
                  <a:cubicBezTo>
                    <a:pt x="22" y="167"/>
                    <a:pt x="22" y="167"/>
                    <a:pt x="22" y="167"/>
                  </a:cubicBezTo>
                  <a:cubicBezTo>
                    <a:pt x="35" y="161"/>
                    <a:pt x="53" y="155"/>
                    <a:pt x="70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5" name="Freeform 26">
            <a:extLst>
              <a:ext uri="{FF2B5EF4-FFF2-40B4-BE49-F238E27FC236}">
                <a16:creationId xmlns:a16="http://schemas.microsoft.com/office/drawing/2014/main" id="{FB6420D1-3DC7-4FFC-AC78-C0DF0507765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87243" y="2224164"/>
            <a:ext cx="3045633" cy="3045633"/>
          </a:xfrm>
          <a:custGeom>
            <a:avLst/>
            <a:gdLst>
              <a:gd name="T0" fmla="*/ 358 w 512"/>
              <a:gd name="T1" fmla="*/ 227 h 512"/>
              <a:gd name="T2" fmla="*/ 367 w 512"/>
              <a:gd name="T3" fmla="*/ 174 h 512"/>
              <a:gd name="T4" fmla="*/ 366 w 512"/>
              <a:gd name="T5" fmla="*/ 172 h 512"/>
              <a:gd name="T6" fmla="*/ 338 w 512"/>
              <a:gd name="T7" fmla="*/ 145 h 512"/>
              <a:gd name="T8" fmla="*/ 308 w 512"/>
              <a:gd name="T9" fmla="*/ 163 h 512"/>
              <a:gd name="T10" fmla="*/ 277 w 512"/>
              <a:gd name="T11" fmla="*/ 119 h 512"/>
              <a:gd name="T12" fmla="*/ 234 w 512"/>
              <a:gd name="T13" fmla="*/ 119 h 512"/>
              <a:gd name="T14" fmla="*/ 204 w 512"/>
              <a:gd name="T15" fmla="*/ 163 h 512"/>
              <a:gd name="T16" fmla="*/ 173 w 512"/>
              <a:gd name="T17" fmla="*/ 145 h 512"/>
              <a:gd name="T18" fmla="*/ 161 w 512"/>
              <a:gd name="T19" fmla="*/ 191 h 512"/>
              <a:gd name="T20" fmla="*/ 143 w 512"/>
              <a:gd name="T21" fmla="*/ 234 h 512"/>
              <a:gd name="T22" fmla="*/ 117 w 512"/>
              <a:gd name="T23" fmla="*/ 256 h 512"/>
              <a:gd name="T24" fmla="*/ 143 w 512"/>
              <a:gd name="T25" fmla="*/ 277 h 512"/>
              <a:gd name="T26" fmla="*/ 161 w 512"/>
              <a:gd name="T27" fmla="*/ 320 h 512"/>
              <a:gd name="T28" fmla="*/ 145 w 512"/>
              <a:gd name="T29" fmla="*/ 339 h 512"/>
              <a:gd name="T30" fmla="*/ 172 w 512"/>
              <a:gd name="T31" fmla="*/ 366 h 512"/>
              <a:gd name="T32" fmla="*/ 191 w 512"/>
              <a:gd name="T33" fmla="*/ 351 h 512"/>
              <a:gd name="T34" fmla="*/ 234 w 512"/>
              <a:gd name="T35" fmla="*/ 368 h 512"/>
              <a:gd name="T36" fmla="*/ 245 w 512"/>
              <a:gd name="T37" fmla="*/ 394 h 512"/>
              <a:gd name="T38" fmla="*/ 267 w 512"/>
              <a:gd name="T39" fmla="*/ 394 h 512"/>
              <a:gd name="T40" fmla="*/ 285 w 512"/>
              <a:gd name="T41" fmla="*/ 358 h 512"/>
              <a:gd name="T42" fmla="*/ 337 w 512"/>
              <a:gd name="T43" fmla="*/ 368 h 512"/>
              <a:gd name="T44" fmla="*/ 368 w 512"/>
              <a:gd name="T45" fmla="*/ 337 h 512"/>
              <a:gd name="T46" fmla="*/ 358 w 512"/>
              <a:gd name="T47" fmla="*/ 285 h 512"/>
              <a:gd name="T48" fmla="*/ 394 w 512"/>
              <a:gd name="T49" fmla="*/ 267 h 512"/>
              <a:gd name="T50" fmla="*/ 393 w 512"/>
              <a:gd name="T51" fmla="*/ 234 h 512"/>
              <a:gd name="T52" fmla="*/ 256 w 512"/>
              <a:gd name="T53" fmla="*/ 192 h 512"/>
              <a:gd name="T54" fmla="*/ 298 w 512"/>
              <a:gd name="T55" fmla="*/ 256 h 512"/>
              <a:gd name="T56" fmla="*/ 256 w 512"/>
              <a:gd name="T57" fmla="*/ 213 h 512"/>
              <a:gd name="T58" fmla="*/ 0 w 512"/>
              <a:gd name="T59" fmla="*/ 256 h 512"/>
              <a:gd name="T60" fmla="*/ 256 w 512"/>
              <a:gd name="T61" fmla="*/ 0 h 512"/>
              <a:gd name="T62" fmla="*/ 401 w 512"/>
              <a:gd name="T63" fmla="*/ 298 h 512"/>
              <a:gd name="T64" fmla="*/ 389 w 512"/>
              <a:gd name="T65" fmla="*/ 329 h 512"/>
              <a:gd name="T66" fmla="*/ 351 w 512"/>
              <a:gd name="T67" fmla="*/ 384 h 512"/>
              <a:gd name="T68" fmla="*/ 311 w 512"/>
              <a:gd name="T69" fmla="*/ 371 h 512"/>
              <a:gd name="T70" fmla="*/ 290 w 512"/>
              <a:gd name="T71" fmla="*/ 412 h 512"/>
              <a:gd name="T72" fmla="*/ 268 w 512"/>
              <a:gd name="T73" fmla="*/ 416 h 512"/>
              <a:gd name="T74" fmla="*/ 256 w 512"/>
              <a:gd name="T75" fmla="*/ 416 h 512"/>
              <a:gd name="T76" fmla="*/ 249 w 512"/>
              <a:gd name="T77" fmla="*/ 416 h 512"/>
              <a:gd name="T78" fmla="*/ 243 w 512"/>
              <a:gd name="T79" fmla="*/ 416 h 512"/>
              <a:gd name="T80" fmla="*/ 213 w 512"/>
              <a:gd name="T81" fmla="*/ 401 h 512"/>
              <a:gd name="T82" fmla="*/ 183 w 512"/>
              <a:gd name="T83" fmla="*/ 389 h 512"/>
              <a:gd name="T84" fmla="*/ 160 w 512"/>
              <a:gd name="T85" fmla="*/ 384 h 512"/>
              <a:gd name="T86" fmla="*/ 128 w 512"/>
              <a:gd name="T87" fmla="*/ 351 h 512"/>
              <a:gd name="T88" fmla="*/ 121 w 512"/>
              <a:gd name="T89" fmla="*/ 342 h 512"/>
              <a:gd name="T90" fmla="*/ 135 w 512"/>
              <a:gd name="T91" fmla="*/ 298 h 512"/>
              <a:gd name="T92" fmla="*/ 96 w 512"/>
              <a:gd name="T93" fmla="*/ 268 h 512"/>
              <a:gd name="T94" fmla="*/ 96 w 512"/>
              <a:gd name="T95" fmla="*/ 256 h 512"/>
              <a:gd name="T96" fmla="*/ 96 w 512"/>
              <a:gd name="T97" fmla="*/ 243 h 512"/>
              <a:gd name="T98" fmla="*/ 96 w 512"/>
              <a:gd name="T99" fmla="*/ 243 h 512"/>
              <a:gd name="T100" fmla="*/ 135 w 512"/>
              <a:gd name="T101" fmla="*/ 213 h 512"/>
              <a:gd name="T102" fmla="*/ 121 w 512"/>
              <a:gd name="T103" fmla="*/ 169 h 512"/>
              <a:gd name="T104" fmla="*/ 169 w 512"/>
              <a:gd name="T105" fmla="*/ 121 h 512"/>
              <a:gd name="T106" fmla="*/ 213 w 512"/>
              <a:gd name="T107" fmla="*/ 135 h 512"/>
              <a:gd name="T108" fmla="*/ 243 w 512"/>
              <a:gd name="T109" fmla="*/ 96 h 512"/>
              <a:gd name="T110" fmla="*/ 298 w 512"/>
              <a:gd name="T111" fmla="*/ 110 h 512"/>
              <a:gd name="T112" fmla="*/ 329 w 512"/>
              <a:gd name="T113" fmla="*/ 122 h 512"/>
              <a:gd name="T114" fmla="*/ 351 w 512"/>
              <a:gd name="T115" fmla="*/ 128 h 512"/>
              <a:gd name="T116" fmla="*/ 384 w 512"/>
              <a:gd name="T117" fmla="*/ 160 h 512"/>
              <a:gd name="T118" fmla="*/ 390 w 512"/>
              <a:gd name="T119" fmla="*/ 169 h 512"/>
              <a:gd name="T120" fmla="*/ 376 w 512"/>
              <a:gd name="T121" fmla="*/ 213 h 512"/>
              <a:gd name="T122" fmla="*/ 416 w 512"/>
              <a:gd name="T123" fmla="*/ 243 h 512"/>
              <a:gd name="T124" fmla="*/ 415 w 512"/>
              <a:gd name="T125" fmla="*/ 26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393" y="234"/>
                </a:moveTo>
                <a:cubicBezTo>
                  <a:pt x="368" y="234"/>
                  <a:pt x="368" y="234"/>
                  <a:pt x="368" y="234"/>
                </a:cubicBezTo>
                <a:cubicBezTo>
                  <a:pt x="364" y="234"/>
                  <a:pt x="359" y="231"/>
                  <a:pt x="358" y="227"/>
                </a:cubicBezTo>
                <a:cubicBezTo>
                  <a:pt x="356" y="219"/>
                  <a:pt x="353" y="211"/>
                  <a:pt x="349" y="204"/>
                </a:cubicBezTo>
                <a:cubicBezTo>
                  <a:pt x="346" y="200"/>
                  <a:pt x="347" y="194"/>
                  <a:pt x="351" y="191"/>
                </a:cubicBezTo>
                <a:cubicBezTo>
                  <a:pt x="367" y="174"/>
                  <a:pt x="367" y="174"/>
                  <a:pt x="367" y="174"/>
                </a:cubicBezTo>
                <a:cubicBezTo>
                  <a:pt x="366" y="173"/>
                  <a:pt x="366" y="173"/>
                  <a:pt x="366" y="173"/>
                </a:cubicBezTo>
                <a:cubicBezTo>
                  <a:pt x="366" y="173"/>
                  <a:pt x="366" y="172"/>
                  <a:pt x="366" y="172"/>
                </a:cubicBezTo>
                <a:cubicBezTo>
                  <a:pt x="366" y="172"/>
                  <a:pt x="366" y="172"/>
                  <a:pt x="366" y="172"/>
                </a:cubicBezTo>
                <a:cubicBezTo>
                  <a:pt x="358" y="162"/>
                  <a:pt x="349" y="153"/>
                  <a:pt x="340" y="146"/>
                </a:cubicBezTo>
                <a:cubicBezTo>
                  <a:pt x="340" y="146"/>
                  <a:pt x="340" y="146"/>
                  <a:pt x="339" y="145"/>
                </a:cubicBezTo>
                <a:cubicBezTo>
                  <a:pt x="339" y="145"/>
                  <a:pt x="339" y="145"/>
                  <a:pt x="338" y="145"/>
                </a:cubicBezTo>
                <a:cubicBezTo>
                  <a:pt x="337" y="144"/>
                  <a:pt x="337" y="144"/>
                  <a:pt x="337" y="144"/>
                </a:cubicBezTo>
                <a:cubicBezTo>
                  <a:pt x="320" y="161"/>
                  <a:pt x="320" y="161"/>
                  <a:pt x="320" y="161"/>
                </a:cubicBezTo>
                <a:cubicBezTo>
                  <a:pt x="317" y="164"/>
                  <a:pt x="312" y="165"/>
                  <a:pt x="308" y="163"/>
                </a:cubicBezTo>
                <a:cubicBezTo>
                  <a:pt x="300" y="159"/>
                  <a:pt x="293" y="155"/>
                  <a:pt x="285" y="153"/>
                </a:cubicBezTo>
                <a:cubicBezTo>
                  <a:pt x="280" y="152"/>
                  <a:pt x="277" y="148"/>
                  <a:pt x="277" y="143"/>
                </a:cubicBezTo>
                <a:cubicBezTo>
                  <a:pt x="277" y="119"/>
                  <a:pt x="277" y="119"/>
                  <a:pt x="277" y="119"/>
                </a:cubicBezTo>
                <a:cubicBezTo>
                  <a:pt x="274" y="118"/>
                  <a:pt x="270" y="118"/>
                  <a:pt x="267" y="118"/>
                </a:cubicBezTo>
                <a:cubicBezTo>
                  <a:pt x="259" y="117"/>
                  <a:pt x="252" y="117"/>
                  <a:pt x="245" y="118"/>
                </a:cubicBezTo>
                <a:cubicBezTo>
                  <a:pt x="241" y="118"/>
                  <a:pt x="238" y="118"/>
                  <a:pt x="234" y="119"/>
                </a:cubicBezTo>
                <a:cubicBezTo>
                  <a:pt x="234" y="143"/>
                  <a:pt x="234" y="143"/>
                  <a:pt x="234" y="143"/>
                </a:cubicBezTo>
                <a:cubicBezTo>
                  <a:pt x="234" y="148"/>
                  <a:pt x="231" y="152"/>
                  <a:pt x="227" y="153"/>
                </a:cubicBezTo>
                <a:cubicBezTo>
                  <a:pt x="219" y="155"/>
                  <a:pt x="211" y="159"/>
                  <a:pt x="204" y="163"/>
                </a:cubicBezTo>
                <a:cubicBezTo>
                  <a:pt x="200" y="165"/>
                  <a:pt x="194" y="164"/>
                  <a:pt x="191" y="161"/>
                </a:cubicBezTo>
                <a:cubicBezTo>
                  <a:pt x="174" y="144"/>
                  <a:pt x="174" y="144"/>
                  <a:pt x="174" y="144"/>
                </a:cubicBezTo>
                <a:cubicBezTo>
                  <a:pt x="174" y="144"/>
                  <a:pt x="173" y="144"/>
                  <a:pt x="173" y="145"/>
                </a:cubicBezTo>
                <a:cubicBezTo>
                  <a:pt x="162" y="153"/>
                  <a:pt x="153" y="162"/>
                  <a:pt x="145" y="173"/>
                </a:cubicBezTo>
                <a:cubicBezTo>
                  <a:pt x="144" y="173"/>
                  <a:pt x="144" y="174"/>
                  <a:pt x="144" y="174"/>
                </a:cubicBezTo>
                <a:cubicBezTo>
                  <a:pt x="161" y="191"/>
                  <a:pt x="161" y="191"/>
                  <a:pt x="161" y="191"/>
                </a:cubicBezTo>
                <a:cubicBezTo>
                  <a:pt x="164" y="194"/>
                  <a:pt x="165" y="200"/>
                  <a:pt x="163" y="204"/>
                </a:cubicBezTo>
                <a:cubicBezTo>
                  <a:pt x="159" y="211"/>
                  <a:pt x="155" y="219"/>
                  <a:pt x="153" y="227"/>
                </a:cubicBezTo>
                <a:cubicBezTo>
                  <a:pt x="152" y="231"/>
                  <a:pt x="148" y="234"/>
                  <a:pt x="143" y="234"/>
                </a:cubicBezTo>
                <a:cubicBezTo>
                  <a:pt x="119" y="234"/>
                  <a:pt x="119" y="234"/>
                  <a:pt x="119" y="234"/>
                </a:cubicBezTo>
                <a:cubicBezTo>
                  <a:pt x="118" y="238"/>
                  <a:pt x="118" y="241"/>
                  <a:pt x="118" y="245"/>
                </a:cubicBezTo>
                <a:cubicBezTo>
                  <a:pt x="117" y="248"/>
                  <a:pt x="117" y="252"/>
                  <a:pt x="117" y="256"/>
                </a:cubicBezTo>
                <a:cubicBezTo>
                  <a:pt x="117" y="259"/>
                  <a:pt x="117" y="263"/>
                  <a:pt x="118" y="267"/>
                </a:cubicBezTo>
                <a:cubicBezTo>
                  <a:pt x="118" y="270"/>
                  <a:pt x="118" y="274"/>
                  <a:pt x="119" y="277"/>
                </a:cubicBezTo>
                <a:cubicBezTo>
                  <a:pt x="143" y="277"/>
                  <a:pt x="143" y="277"/>
                  <a:pt x="143" y="277"/>
                </a:cubicBezTo>
                <a:cubicBezTo>
                  <a:pt x="148" y="277"/>
                  <a:pt x="152" y="280"/>
                  <a:pt x="153" y="285"/>
                </a:cubicBezTo>
                <a:cubicBezTo>
                  <a:pt x="155" y="293"/>
                  <a:pt x="159" y="300"/>
                  <a:pt x="163" y="308"/>
                </a:cubicBezTo>
                <a:cubicBezTo>
                  <a:pt x="165" y="312"/>
                  <a:pt x="164" y="317"/>
                  <a:pt x="161" y="320"/>
                </a:cubicBezTo>
                <a:cubicBezTo>
                  <a:pt x="144" y="337"/>
                  <a:pt x="144" y="337"/>
                  <a:pt x="144" y="337"/>
                </a:cubicBezTo>
                <a:cubicBezTo>
                  <a:pt x="145" y="338"/>
                  <a:pt x="145" y="338"/>
                  <a:pt x="145" y="338"/>
                </a:cubicBezTo>
                <a:cubicBezTo>
                  <a:pt x="145" y="339"/>
                  <a:pt x="145" y="339"/>
                  <a:pt x="145" y="339"/>
                </a:cubicBezTo>
                <a:cubicBezTo>
                  <a:pt x="145" y="339"/>
                  <a:pt x="146" y="340"/>
                  <a:pt x="146" y="340"/>
                </a:cubicBezTo>
                <a:cubicBezTo>
                  <a:pt x="153" y="349"/>
                  <a:pt x="162" y="358"/>
                  <a:pt x="172" y="366"/>
                </a:cubicBezTo>
                <a:cubicBezTo>
                  <a:pt x="172" y="366"/>
                  <a:pt x="172" y="366"/>
                  <a:pt x="172" y="366"/>
                </a:cubicBezTo>
                <a:cubicBezTo>
                  <a:pt x="172" y="366"/>
                  <a:pt x="173" y="366"/>
                  <a:pt x="173" y="367"/>
                </a:cubicBezTo>
                <a:cubicBezTo>
                  <a:pt x="174" y="367"/>
                  <a:pt x="174" y="367"/>
                  <a:pt x="174" y="367"/>
                </a:cubicBezTo>
                <a:cubicBezTo>
                  <a:pt x="191" y="351"/>
                  <a:pt x="191" y="351"/>
                  <a:pt x="191" y="351"/>
                </a:cubicBezTo>
                <a:cubicBezTo>
                  <a:pt x="194" y="347"/>
                  <a:pt x="200" y="346"/>
                  <a:pt x="204" y="349"/>
                </a:cubicBezTo>
                <a:cubicBezTo>
                  <a:pt x="211" y="353"/>
                  <a:pt x="219" y="356"/>
                  <a:pt x="227" y="358"/>
                </a:cubicBezTo>
                <a:cubicBezTo>
                  <a:pt x="231" y="359"/>
                  <a:pt x="234" y="364"/>
                  <a:pt x="234" y="368"/>
                </a:cubicBezTo>
                <a:cubicBezTo>
                  <a:pt x="234" y="393"/>
                  <a:pt x="234" y="393"/>
                  <a:pt x="234" y="393"/>
                </a:cubicBezTo>
                <a:cubicBezTo>
                  <a:pt x="238" y="393"/>
                  <a:pt x="241" y="394"/>
                  <a:pt x="245" y="39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52" y="394"/>
                  <a:pt x="259" y="395"/>
                  <a:pt x="267" y="394"/>
                </a:cubicBezTo>
                <a:cubicBezTo>
                  <a:pt x="270" y="394"/>
                  <a:pt x="274" y="393"/>
                  <a:pt x="277" y="393"/>
                </a:cubicBezTo>
                <a:cubicBezTo>
                  <a:pt x="277" y="368"/>
                  <a:pt x="277" y="368"/>
                  <a:pt x="277" y="368"/>
                </a:cubicBezTo>
                <a:cubicBezTo>
                  <a:pt x="277" y="364"/>
                  <a:pt x="280" y="359"/>
                  <a:pt x="285" y="358"/>
                </a:cubicBezTo>
                <a:cubicBezTo>
                  <a:pt x="293" y="356"/>
                  <a:pt x="300" y="353"/>
                  <a:pt x="308" y="349"/>
                </a:cubicBezTo>
                <a:cubicBezTo>
                  <a:pt x="312" y="346"/>
                  <a:pt x="317" y="347"/>
                  <a:pt x="320" y="351"/>
                </a:cubicBezTo>
                <a:cubicBezTo>
                  <a:pt x="337" y="368"/>
                  <a:pt x="337" y="368"/>
                  <a:pt x="337" y="368"/>
                </a:cubicBezTo>
                <a:cubicBezTo>
                  <a:pt x="338" y="367"/>
                  <a:pt x="338" y="367"/>
                  <a:pt x="339" y="367"/>
                </a:cubicBezTo>
                <a:cubicBezTo>
                  <a:pt x="349" y="359"/>
                  <a:pt x="359" y="349"/>
                  <a:pt x="367" y="339"/>
                </a:cubicBezTo>
                <a:cubicBezTo>
                  <a:pt x="367" y="338"/>
                  <a:pt x="367" y="338"/>
                  <a:pt x="368" y="337"/>
                </a:cubicBezTo>
                <a:cubicBezTo>
                  <a:pt x="351" y="320"/>
                  <a:pt x="351" y="320"/>
                  <a:pt x="351" y="320"/>
                </a:cubicBezTo>
                <a:cubicBezTo>
                  <a:pt x="347" y="317"/>
                  <a:pt x="346" y="312"/>
                  <a:pt x="349" y="308"/>
                </a:cubicBezTo>
                <a:cubicBezTo>
                  <a:pt x="353" y="300"/>
                  <a:pt x="356" y="293"/>
                  <a:pt x="358" y="285"/>
                </a:cubicBezTo>
                <a:cubicBezTo>
                  <a:pt x="359" y="280"/>
                  <a:pt x="364" y="277"/>
                  <a:pt x="368" y="277"/>
                </a:cubicBezTo>
                <a:cubicBezTo>
                  <a:pt x="393" y="277"/>
                  <a:pt x="393" y="277"/>
                  <a:pt x="393" y="277"/>
                </a:cubicBezTo>
                <a:cubicBezTo>
                  <a:pt x="393" y="274"/>
                  <a:pt x="393" y="270"/>
                  <a:pt x="394" y="267"/>
                </a:cubicBezTo>
                <a:cubicBezTo>
                  <a:pt x="394" y="263"/>
                  <a:pt x="394" y="259"/>
                  <a:pt x="394" y="256"/>
                </a:cubicBezTo>
                <a:cubicBezTo>
                  <a:pt x="394" y="252"/>
                  <a:pt x="394" y="248"/>
                  <a:pt x="394" y="245"/>
                </a:cubicBezTo>
                <a:cubicBezTo>
                  <a:pt x="393" y="241"/>
                  <a:pt x="393" y="238"/>
                  <a:pt x="393" y="234"/>
                </a:cubicBezTo>
                <a:close/>
                <a:moveTo>
                  <a:pt x="256" y="320"/>
                </a:moveTo>
                <a:cubicBezTo>
                  <a:pt x="220" y="320"/>
                  <a:pt x="192" y="291"/>
                  <a:pt x="192" y="256"/>
                </a:cubicBezTo>
                <a:cubicBezTo>
                  <a:pt x="192" y="220"/>
                  <a:pt x="220" y="192"/>
                  <a:pt x="256" y="192"/>
                </a:cubicBezTo>
                <a:cubicBezTo>
                  <a:pt x="291" y="192"/>
                  <a:pt x="320" y="220"/>
                  <a:pt x="320" y="256"/>
                </a:cubicBezTo>
                <a:cubicBezTo>
                  <a:pt x="320" y="291"/>
                  <a:pt x="291" y="320"/>
                  <a:pt x="256" y="320"/>
                </a:cubicBezTo>
                <a:close/>
                <a:moveTo>
                  <a:pt x="298" y="256"/>
                </a:moveTo>
                <a:cubicBezTo>
                  <a:pt x="298" y="279"/>
                  <a:pt x="279" y="298"/>
                  <a:pt x="256" y="298"/>
                </a:cubicBezTo>
                <a:cubicBezTo>
                  <a:pt x="232" y="298"/>
                  <a:pt x="213" y="279"/>
                  <a:pt x="213" y="256"/>
                </a:cubicBezTo>
                <a:cubicBezTo>
                  <a:pt x="213" y="232"/>
                  <a:pt x="232" y="213"/>
                  <a:pt x="256" y="213"/>
                </a:cubicBezTo>
                <a:cubicBezTo>
                  <a:pt x="279" y="213"/>
                  <a:pt x="298" y="232"/>
                  <a:pt x="298" y="256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5" y="268"/>
                </a:moveTo>
                <a:cubicBezTo>
                  <a:pt x="414" y="276"/>
                  <a:pt x="413" y="283"/>
                  <a:pt x="412" y="290"/>
                </a:cubicBezTo>
                <a:cubicBezTo>
                  <a:pt x="411" y="295"/>
                  <a:pt x="406" y="298"/>
                  <a:pt x="401" y="298"/>
                </a:cubicBezTo>
                <a:cubicBezTo>
                  <a:pt x="376" y="298"/>
                  <a:pt x="376" y="298"/>
                  <a:pt x="376" y="298"/>
                </a:cubicBezTo>
                <a:cubicBezTo>
                  <a:pt x="375" y="303"/>
                  <a:pt x="373" y="307"/>
                  <a:pt x="371" y="311"/>
                </a:cubicBezTo>
                <a:cubicBezTo>
                  <a:pt x="389" y="329"/>
                  <a:pt x="389" y="329"/>
                  <a:pt x="389" y="329"/>
                </a:cubicBezTo>
                <a:cubicBezTo>
                  <a:pt x="392" y="332"/>
                  <a:pt x="393" y="338"/>
                  <a:pt x="390" y="342"/>
                </a:cubicBezTo>
                <a:cubicBezTo>
                  <a:pt x="388" y="345"/>
                  <a:pt x="386" y="348"/>
                  <a:pt x="384" y="351"/>
                </a:cubicBezTo>
                <a:cubicBezTo>
                  <a:pt x="375" y="364"/>
                  <a:pt x="364" y="375"/>
                  <a:pt x="351" y="384"/>
                </a:cubicBezTo>
                <a:cubicBezTo>
                  <a:pt x="348" y="386"/>
                  <a:pt x="345" y="388"/>
                  <a:pt x="342" y="390"/>
                </a:cubicBezTo>
                <a:cubicBezTo>
                  <a:pt x="338" y="393"/>
                  <a:pt x="332" y="392"/>
                  <a:pt x="329" y="389"/>
                </a:cubicBezTo>
                <a:cubicBezTo>
                  <a:pt x="311" y="371"/>
                  <a:pt x="311" y="371"/>
                  <a:pt x="311" y="371"/>
                </a:cubicBezTo>
                <a:cubicBezTo>
                  <a:pt x="307" y="373"/>
                  <a:pt x="303" y="375"/>
                  <a:pt x="298" y="376"/>
                </a:cubicBezTo>
                <a:cubicBezTo>
                  <a:pt x="298" y="401"/>
                  <a:pt x="298" y="401"/>
                  <a:pt x="298" y="401"/>
                </a:cubicBezTo>
                <a:cubicBezTo>
                  <a:pt x="298" y="407"/>
                  <a:pt x="295" y="411"/>
                  <a:pt x="290" y="412"/>
                </a:cubicBezTo>
                <a:cubicBezTo>
                  <a:pt x="283" y="414"/>
                  <a:pt x="276" y="415"/>
                  <a:pt x="269" y="415"/>
                </a:cubicBezTo>
                <a:cubicBezTo>
                  <a:pt x="269" y="415"/>
                  <a:pt x="269" y="416"/>
                  <a:pt x="269" y="416"/>
                </a:cubicBezTo>
                <a:cubicBezTo>
                  <a:pt x="268" y="416"/>
                  <a:pt x="268" y="416"/>
                  <a:pt x="268" y="416"/>
                </a:cubicBezTo>
                <a:cubicBezTo>
                  <a:pt x="268" y="416"/>
                  <a:pt x="268" y="416"/>
                  <a:pt x="268" y="416"/>
                </a:cubicBezTo>
                <a:cubicBezTo>
                  <a:pt x="267" y="416"/>
                  <a:pt x="265" y="415"/>
                  <a:pt x="264" y="416"/>
                </a:cubicBezTo>
                <a:cubicBezTo>
                  <a:pt x="261" y="416"/>
                  <a:pt x="258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3" y="416"/>
                  <a:pt x="251" y="416"/>
                  <a:pt x="249" y="416"/>
                </a:cubicBezTo>
                <a:cubicBezTo>
                  <a:pt x="247" y="416"/>
                  <a:pt x="245" y="416"/>
                  <a:pt x="243" y="416"/>
                </a:cubicBezTo>
                <a:cubicBezTo>
                  <a:pt x="243" y="416"/>
                  <a:pt x="243" y="416"/>
                  <a:pt x="243" y="416"/>
                </a:cubicBezTo>
                <a:cubicBezTo>
                  <a:pt x="243" y="416"/>
                  <a:pt x="243" y="416"/>
                  <a:pt x="243" y="416"/>
                </a:cubicBezTo>
                <a:cubicBezTo>
                  <a:pt x="243" y="416"/>
                  <a:pt x="243" y="416"/>
                  <a:pt x="243" y="416"/>
                </a:cubicBezTo>
                <a:cubicBezTo>
                  <a:pt x="235" y="416"/>
                  <a:pt x="228" y="414"/>
                  <a:pt x="221" y="412"/>
                </a:cubicBezTo>
                <a:cubicBezTo>
                  <a:pt x="216" y="411"/>
                  <a:pt x="213" y="407"/>
                  <a:pt x="213" y="401"/>
                </a:cubicBezTo>
                <a:cubicBezTo>
                  <a:pt x="213" y="376"/>
                  <a:pt x="213" y="376"/>
                  <a:pt x="213" y="376"/>
                </a:cubicBezTo>
                <a:cubicBezTo>
                  <a:pt x="209" y="375"/>
                  <a:pt x="205" y="373"/>
                  <a:pt x="201" y="371"/>
                </a:cubicBezTo>
                <a:cubicBezTo>
                  <a:pt x="183" y="389"/>
                  <a:pt x="183" y="389"/>
                  <a:pt x="183" y="389"/>
                </a:cubicBezTo>
                <a:cubicBezTo>
                  <a:pt x="179" y="392"/>
                  <a:pt x="174" y="393"/>
                  <a:pt x="169" y="390"/>
                </a:cubicBezTo>
                <a:cubicBezTo>
                  <a:pt x="167" y="389"/>
                  <a:pt x="164" y="387"/>
                  <a:pt x="161" y="385"/>
                </a:cubicBezTo>
                <a:cubicBezTo>
                  <a:pt x="161" y="384"/>
                  <a:pt x="160" y="384"/>
                  <a:pt x="160" y="384"/>
                </a:cubicBezTo>
                <a:cubicBezTo>
                  <a:pt x="160" y="383"/>
                  <a:pt x="159" y="383"/>
                  <a:pt x="158" y="382"/>
                </a:cubicBezTo>
                <a:cubicBezTo>
                  <a:pt x="147" y="374"/>
                  <a:pt x="137" y="364"/>
                  <a:pt x="129" y="353"/>
                </a:cubicBezTo>
                <a:cubicBezTo>
                  <a:pt x="128" y="352"/>
                  <a:pt x="128" y="352"/>
                  <a:pt x="128" y="351"/>
                </a:cubicBezTo>
                <a:cubicBezTo>
                  <a:pt x="127" y="351"/>
                  <a:pt x="127" y="350"/>
                  <a:pt x="127" y="350"/>
                </a:cubicBezTo>
                <a:cubicBezTo>
                  <a:pt x="127" y="350"/>
                  <a:pt x="127" y="350"/>
                  <a:pt x="127" y="350"/>
                </a:cubicBezTo>
                <a:cubicBezTo>
                  <a:pt x="125" y="347"/>
                  <a:pt x="123" y="345"/>
                  <a:pt x="121" y="342"/>
                </a:cubicBezTo>
                <a:cubicBezTo>
                  <a:pt x="118" y="338"/>
                  <a:pt x="119" y="332"/>
                  <a:pt x="122" y="329"/>
                </a:cubicBezTo>
                <a:cubicBezTo>
                  <a:pt x="140" y="311"/>
                  <a:pt x="140" y="311"/>
                  <a:pt x="140" y="311"/>
                </a:cubicBezTo>
                <a:cubicBezTo>
                  <a:pt x="138" y="307"/>
                  <a:pt x="137" y="303"/>
                  <a:pt x="135" y="298"/>
                </a:cubicBezTo>
                <a:cubicBezTo>
                  <a:pt x="110" y="298"/>
                  <a:pt x="110" y="298"/>
                  <a:pt x="110" y="298"/>
                </a:cubicBezTo>
                <a:cubicBezTo>
                  <a:pt x="105" y="298"/>
                  <a:pt x="100" y="295"/>
                  <a:pt x="99" y="290"/>
                </a:cubicBezTo>
                <a:cubicBezTo>
                  <a:pt x="98" y="283"/>
                  <a:pt x="97" y="276"/>
                  <a:pt x="96" y="268"/>
                </a:cubicBezTo>
                <a:cubicBezTo>
                  <a:pt x="96" y="265"/>
                  <a:pt x="96" y="262"/>
                  <a:pt x="96" y="259"/>
                </a:cubicBezTo>
                <a:cubicBezTo>
                  <a:pt x="96" y="258"/>
                  <a:pt x="96" y="257"/>
                  <a:pt x="96" y="256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254"/>
                  <a:pt x="96" y="253"/>
                  <a:pt x="96" y="252"/>
                </a:cubicBezTo>
                <a:cubicBezTo>
                  <a:pt x="96" y="249"/>
                  <a:pt x="96" y="246"/>
                  <a:pt x="96" y="243"/>
                </a:cubicBezTo>
                <a:cubicBezTo>
                  <a:pt x="96" y="243"/>
                  <a:pt x="96" y="243"/>
                  <a:pt x="96" y="243"/>
                </a:cubicBezTo>
                <a:cubicBezTo>
                  <a:pt x="96" y="243"/>
                  <a:pt x="96" y="243"/>
                  <a:pt x="96" y="243"/>
                </a:cubicBezTo>
                <a:cubicBezTo>
                  <a:pt x="96" y="243"/>
                  <a:pt x="96" y="243"/>
                  <a:pt x="96" y="243"/>
                </a:cubicBezTo>
                <a:cubicBezTo>
                  <a:pt x="97" y="235"/>
                  <a:pt x="98" y="228"/>
                  <a:pt x="99" y="221"/>
                </a:cubicBezTo>
                <a:cubicBezTo>
                  <a:pt x="100" y="216"/>
                  <a:pt x="105" y="213"/>
                  <a:pt x="110" y="213"/>
                </a:cubicBezTo>
                <a:cubicBezTo>
                  <a:pt x="135" y="213"/>
                  <a:pt x="135" y="213"/>
                  <a:pt x="135" y="213"/>
                </a:cubicBezTo>
                <a:cubicBezTo>
                  <a:pt x="137" y="209"/>
                  <a:pt x="138" y="205"/>
                  <a:pt x="140" y="201"/>
                </a:cubicBezTo>
                <a:cubicBezTo>
                  <a:pt x="122" y="183"/>
                  <a:pt x="122" y="183"/>
                  <a:pt x="122" y="183"/>
                </a:cubicBezTo>
                <a:cubicBezTo>
                  <a:pt x="119" y="179"/>
                  <a:pt x="118" y="174"/>
                  <a:pt x="121" y="169"/>
                </a:cubicBezTo>
                <a:cubicBezTo>
                  <a:pt x="123" y="166"/>
                  <a:pt x="125" y="163"/>
                  <a:pt x="128" y="160"/>
                </a:cubicBezTo>
                <a:cubicBezTo>
                  <a:pt x="137" y="148"/>
                  <a:pt x="148" y="137"/>
                  <a:pt x="160" y="128"/>
                </a:cubicBezTo>
                <a:cubicBezTo>
                  <a:pt x="163" y="125"/>
                  <a:pt x="166" y="123"/>
                  <a:pt x="169" y="121"/>
                </a:cubicBezTo>
                <a:cubicBezTo>
                  <a:pt x="174" y="118"/>
                  <a:pt x="179" y="119"/>
                  <a:pt x="183" y="122"/>
                </a:cubicBezTo>
                <a:cubicBezTo>
                  <a:pt x="201" y="140"/>
                  <a:pt x="201" y="140"/>
                  <a:pt x="201" y="140"/>
                </a:cubicBezTo>
                <a:cubicBezTo>
                  <a:pt x="205" y="138"/>
                  <a:pt x="209" y="137"/>
                  <a:pt x="213" y="135"/>
                </a:cubicBezTo>
                <a:cubicBezTo>
                  <a:pt x="213" y="110"/>
                  <a:pt x="213" y="110"/>
                  <a:pt x="213" y="110"/>
                </a:cubicBezTo>
                <a:cubicBezTo>
                  <a:pt x="213" y="105"/>
                  <a:pt x="216" y="100"/>
                  <a:pt x="221" y="99"/>
                </a:cubicBezTo>
                <a:cubicBezTo>
                  <a:pt x="228" y="98"/>
                  <a:pt x="236" y="97"/>
                  <a:pt x="243" y="96"/>
                </a:cubicBezTo>
                <a:cubicBezTo>
                  <a:pt x="251" y="96"/>
                  <a:pt x="260" y="96"/>
                  <a:pt x="268" y="96"/>
                </a:cubicBezTo>
                <a:cubicBezTo>
                  <a:pt x="276" y="97"/>
                  <a:pt x="283" y="98"/>
                  <a:pt x="290" y="99"/>
                </a:cubicBezTo>
                <a:cubicBezTo>
                  <a:pt x="295" y="100"/>
                  <a:pt x="298" y="105"/>
                  <a:pt x="298" y="110"/>
                </a:cubicBezTo>
                <a:cubicBezTo>
                  <a:pt x="298" y="135"/>
                  <a:pt x="298" y="135"/>
                  <a:pt x="298" y="135"/>
                </a:cubicBezTo>
                <a:cubicBezTo>
                  <a:pt x="303" y="137"/>
                  <a:pt x="307" y="138"/>
                  <a:pt x="311" y="140"/>
                </a:cubicBezTo>
                <a:cubicBezTo>
                  <a:pt x="329" y="122"/>
                  <a:pt x="329" y="122"/>
                  <a:pt x="329" y="122"/>
                </a:cubicBezTo>
                <a:cubicBezTo>
                  <a:pt x="332" y="119"/>
                  <a:pt x="338" y="118"/>
                  <a:pt x="342" y="121"/>
                </a:cubicBezTo>
                <a:cubicBezTo>
                  <a:pt x="345" y="123"/>
                  <a:pt x="347" y="125"/>
                  <a:pt x="350" y="127"/>
                </a:cubicBezTo>
                <a:cubicBezTo>
                  <a:pt x="350" y="127"/>
                  <a:pt x="351" y="127"/>
                  <a:pt x="351" y="128"/>
                </a:cubicBezTo>
                <a:cubicBezTo>
                  <a:pt x="352" y="128"/>
                  <a:pt x="353" y="129"/>
                  <a:pt x="353" y="129"/>
                </a:cubicBezTo>
                <a:cubicBezTo>
                  <a:pt x="364" y="137"/>
                  <a:pt x="374" y="147"/>
                  <a:pt x="383" y="159"/>
                </a:cubicBezTo>
                <a:cubicBezTo>
                  <a:pt x="383" y="159"/>
                  <a:pt x="383" y="159"/>
                  <a:pt x="384" y="160"/>
                </a:cubicBezTo>
                <a:cubicBezTo>
                  <a:pt x="384" y="160"/>
                  <a:pt x="384" y="161"/>
                  <a:pt x="385" y="161"/>
                </a:cubicBezTo>
                <a:cubicBezTo>
                  <a:pt x="385" y="162"/>
                  <a:pt x="385" y="162"/>
                  <a:pt x="385" y="162"/>
                </a:cubicBezTo>
                <a:cubicBezTo>
                  <a:pt x="387" y="164"/>
                  <a:pt x="389" y="167"/>
                  <a:pt x="390" y="169"/>
                </a:cubicBezTo>
                <a:cubicBezTo>
                  <a:pt x="393" y="174"/>
                  <a:pt x="392" y="179"/>
                  <a:pt x="389" y="183"/>
                </a:cubicBezTo>
                <a:cubicBezTo>
                  <a:pt x="371" y="201"/>
                  <a:pt x="371" y="201"/>
                  <a:pt x="371" y="201"/>
                </a:cubicBezTo>
                <a:cubicBezTo>
                  <a:pt x="373" y="205"/>
                  <a:pt x="375" y="209"/>
                  <a:pt x="376" y="213"/>
                </a:cubicBezTo>
                <a:cubicBezTo>
                  <a:pt x="401" y="213"/>
                  <a:pt x="401" y="213"/>
                  <a:pt x="401" y="213"/>
                </a:cubicBezTo>
                <a:cubicBezTo>
                  <a:pt x="406" y="213"/>
                  <a:pt x="411" y="216"/>
                  <a:pt x="412" y="221"/>
                </a:cubicBezTo>
                <a:cubicBezTo>
                  <a:pt x="414" y="228"/>
                  <a:pt x="414" y="235"/>
                  <a:pt x="416" y="243"/>
                </a:cubicBezTo>
                <a:cubicBezTo>
                  <a:pt x="416" y="243"/>
                  <a:pt x="416" y="243"/>
                  <a:pt x="416" y="243"/>
                </a:cubicBezTo>
                <a:cubicBezTo>
                  <a:pt x="416" y="247"/>
                  <a:pt x="416" y="251"/>
                  <a:pt x="416" y="256"/>
                </a:cubicBezTo>
                <a:cubicBezTo>
                  <a:pt x="416" y="260"/>
                  <a:pt x="415" y="264"/>
                  <a:pt x="415" y="2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EE36BCE-0096-462F-9502-0141D7D47233}"/>
              </a:ext>
            </a:extLst>
          </p:cNvPr>
          <p:cNvSpPr txBox="1"/>
          <p:nvPr/>
        </p:nvSpPr>
        <p:spPr>
          <a:xfrm>
            <a:off x="1138621" y="4984681"/>
            <a:ext cx="42378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onsiderações Finais</a:t>
            </a:r>
          </a:p>
        </p:txBody>
      </p:sp>
      <p:grpSp>
        <p:nvGrpSpPr>
          <p:cNvPr id="37" name="Group 244">
            <a:extLst>
              <a:ext uri="{FF2B5EF4-FFF2-40B4-BE49-F238E27FC236}">
                <a16:creationId xmlns:a16="http://schemas.microsoft.com/office/drawing/2014/main" id="{C0676713-6C43-4E5A-8E13-E0753303CCA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4276" y="2805478"/>
            <a:ext cx="504000" cy="504000"/>
            <a:chOff x="4646" y="1397"/>
            <a:chExt cx="340" cy="340"/>
          </a:xfrm>
          <a:solidFill>
            <a:schemeClr val="accent1"/>
          </a:solidFill>
        </p:grpSpPr>
        <p:sp>
          <p:nvSpPr>
            <p:cNvPr id="38" name="Freeform 245">
              <a:extLst>
                <a:ext uri="{FF2B5EF4-FFF2-40B4-BE49-F238E27FC236}">
                  <a16:creationId xmlns:a16="http://schemas.microsoft.com/office/drawing/2014/main" id="{CA47ADC5-6A4F-49EB-B1CB-4F3EC7A97F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6" y="139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Freeform 246">
              <a:extLst>
                <a:ext uri="{FF2B5EF4-FFF2-40B4-BE49-F238E27FC236}">
                  <a16:creationId xmlns:a16="http://schemas.microsoft.com/office/drawing/2014/main" id="{DE4A497F-77EE-4042-9EAD-F480D718F9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8" y="1461"/>
              <a:ext cx="156" cy="212"/>
            </a:xfrm>
            <a:custGeom>
              <a:avLst/>
              <a:gdLst>
                <a:gd name="T0" fmla="*/ 54 w 235"/>
                <a:gd name="T1" fmla="*/ 53 h 320"/>
                <a:gd name="T2" fmla="*/ 192 w 235"/>
                <a:gd name="T3" fmla="*/ 64 h 320"/>
                <a:gd name="T4" fmla="*/ 54 w 235"/>
                <a:gd name="T5" fmla="*/ 74 h 320"/>
                <a:gd name="T6" fmla="*/ 235 w 235"/>
                <a:gd name="T7" fmla="*/ 10 h 320"/>
                <a:gd name="T8" fmla="*/ 224 w 235"/>
                <a:gd name="T9" fmla="*/ 320 h 320"/>
                <a:gd name="T10" fmla="*/ 0 w 235"/>
                <a:gd name="T11" fmla="*/ 309 h 320"/>
                <a:gd name="T12" fmla="*/ 11 w 235"/>
                <a:gd name="T13" fmla="*/ 0 h 320"/>
                <a:gd name="T14" fmla="*/ 235 w 235"/>
                <a:gd name="T15" fmla="*/ 10 h 320"/>
                <a:gd name="T16" fmla="*/ 22 w 235"/>
                <a:gd name="T17" fmla="*/ 21 h 320"/>
                <a:gd name="T18" fmla="*/ 214 w 235"/>
                <a:gd name="T19" fmla="*/ 298 h 320"/>
                <a:gd name="T20" fmla="*/ 54 w 235"/>
                <a:gd name="T21" fmla="*/ 160 h 320"/>
                <a:gd name="T22" fmla="*/ 192 w 235"/>
                <a:gd name="T23" fmla="*/ 149 h 320"/>
                <a:gd name="T24" fmla="*/ 54 w 235"/>
                <a:gd name="T25" fmla="*/ 138 h 320"/>
                <a:gd name="T26" fmla="*/ 54 w 235"/>
                <a:gd name="T27" fmla="*/ 160 h 320"/>
                <a:gd name="T28" fmla="*/ 182 w 235"/>
                <a:gd name="T29" fmla="*/ 117 h 320"/>
                <a:gd name="T30" fmla="*/ 182 w 235"/>
                <a:gd name="T31" fmla="*/ 96 h 320"/>
                <a:gd name="T32" fmla="*/ 43 w 235"/>
                <a:gd name="T33" fmla="*/ 106 h 320"/>
                <a:gd name="T34" fmla="*/ 159 w 235"/>
                <a:gd name="T35" fmla="*/ 233 h 320"/>
                <a:gd name="T36" fmla="*/ 159 w 235"/>
                <a:gd name="T37" fmla="*/ 235 h 320"/>
                <a:gd name="T38" fmla="*/ 151 w 235"/>
                <a:gd name="T39" fmla="*/ 258 h 320"/>
                <a:gd name="T40" fmla="*/ 151 w 235"/>
                <a:gd name="T41" fmla="*/ 259 h 320"/>
                <a:gd name="T42" fmla="*/ 131 w 235"/>
                <a:gd name="T43" fmla="*/ 273 h 320"/>
                <a:gd name="T44" fmla="*/ 130 w 235"/>
                <a:gd name="T45" fmla="*/ 274 h 320"/>
                <a:gd name="T46" fmla="*/ 105 w 235"/>
                <a:gd name="T47" fmla="*/ 274 h 320"/>
                <a:gd name="T48" fmla="*/ 104 w 235"/>
                <a:gd name="T49" fmla="*/ 273 h 320"/>
                <a:gd name="T50" fmla="*/ 85 w 235"/>
                <a:gd name="T51" fmla="*/ 259 h 320"/>
                <a:gd name="T52" fmla="*/ 84 w 235"/>
                <a:gd name="T53" fmla="*/ 258 h 320"/>
                <a:gd name="T54" fmla="*/ 76 w 235"/>
                <a:gd name="T55" fmla="*/ 235 h 320"/>
                <a:gd name="T56" fmla="*/ 76 w 235"/>
                <a:gd name="T57" fmla="*/ 233 h 320"/>
                <a:gd name="T58" fmla="*/ 84 w 235"/>
                <a:gd name="T59" fmla="*/ 211 h 320"/>
                <a:gd name="T60" fmla="*/ 85 w 235"/>
                <a:gd name="T61" fmla="*/ 210 h 320"/>
                <a:gd name="T62" fmla="*/ 104 w 235"/>
                <a:gd name="T63" fmla="*/ 195 h 320"/>
                <a:gd name="T64" fmla="*/ 105 w 235"/>
                <a:gd name="T65" fmla="*/ 195 h 320"/>
                <a:gd name="T66" fmla="*/ 130 w 235"/>
                <a:gd name="T67" fmla="*/ 195 h 320"/>
                <a:gd name="T68" fmla="*/ 131 w 235"/>
                <a:gd name="T69" fmla="*/ 195 h 320"/>
                <a:gd name="T70" fmla="*/ 151 w 235"/>
                <a:gd name="T71" fmla="*/ 210 h 320"/>
                <a:gd name="T72" fmla="*/ 151 w 235"/>
                <a:gd name="T73" fmla="*/ 211 h 320"/>
                <a:gd name="T74" fmla="*/ 159 w 235"/>
                <a:gd name="T75" fmla="*/ 233 h 320"/>
                <a:gd name="T76" fmla="*/ 139 w 235"/>
                <a:gd name="T77" fmla="*/ 228 h 320"/>
                <a:gd name="T78" fmla="*/ 130 w 235"/>
                <a:gd name="T79" fmla="*/ 217 h 320"/>
                <a:gd name="T80" fmla="*/ 124 w 235"/>
                <a:gd name="T81" fmla="*/ 216 h 320"/>
                <a:gd name="T82" fmla="*/ 120 w 235"/>
                <a:gd name="T83" fmla="*/ 214 h 320"/>
                <a:gd name="T84" fmla="*/ 118 w 235"/>
                <a:gd name="T85" fmla="*/ 213 h 320"/>
                <a:gd name="T86" fmla="*/ 105 w 235"/>
                <a:gd name="T87" fmla="*/ 217 h 320"/>
                <a:gd name="T88" fmla="*/ 97 w 235"/>
                <a:gd name="T89" fmla="*/ 228 h 320"/>
                <a:gd name="T90" fmla="*/ 96 w 235"/>
                <a:gd name="T91" fmla="*/ 242 h 320"/>
                <a:gd name="T92" fmla="*/ 105 w 235"/>
                <a:gd name="T93" fmla="*/ 252 h 320"/>
                <a:gd name="T94" fmla="*/ 112 w 235"/>
                <a:gd name="T95" fmla="*/ 253 h 320"/>
                <a:gd name="T96" fmla="*/ 115 w 235"/>
                <a:gd name="T97" fmla="*/ 254 h 320"/>
                <a:gd name="T98" fmla="*/ 118 w 235"/>
                <a:gd name="T99" fmla="*/ 256 h 320"/>
                <a:gd name="T100" fmla="*/ 131 w 235"/>
                <a:gd name="T101" fmla="*/ 252 h 320"/>
                <a:gd name="T102" fmla="*/ 133 w 235"/>
                <a:gd name="T103" fmla="*/ 246 h 320"/>
                <a:gd name="T104" fmla="*/ 137 w 235"/>
                <a:gd name="T105" fmla="*/ 23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5" h="320">
                  <a:moveTo>
                    <a:pt x="43" y="64"/>
                  </a:moveTo>
                  <a:cubicBezTo>
                    <a:pt x="43" y="58"/>
                    <a:pt x="48" y="53"/>
                    <a:pt x="54" y="53"/>
                  </a:cubicBezTo>
                  <a:cubicBezTo>
                    <a:pt x="182" y="53"/>
                    <a:pt x="182" y="53"/>
                    <a:pt x="182" y="53"/>
                  </a:cubicBezTo>
                  <a:cubicBezTo>
                    <a:pt x="188" y="53"/>
                    <a:pt x="192" y="58"/>
                    <a:pt x="192" y="64"/>
                  </a:cubicBezTo>
                  <a:cubicBezTo>
                    <a:pt x="192" y="70"/>
                    <a:pt x="188" y="74"/>
                    <a:pt x="182" y="7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48" y="74"/>
                    <a:pt x="43" y="70"/>
                    <a:pt x="43" y="64"/>
                  </a:cubicBezTo>
                  <a:close/>
                  <a:moveTo>
                    <a:pt x="235" y="10"/>
                  </a:moveTo>
                  <a:cubicBezTo>
                    <a:pt x="235" y="309"/>
                    <a:pt x="235" y="309"/>
                    <a:pt x="235" y="309"/>
                  </a:cubicBezTo>
                  <a:cubicBezTo>
                    <a:pt x="235" y="315"/>
                    <a:pt x="230" y="320"/>
                    <a:pt x="224" y="320"/>
                  </a:cubicBezTo>
                  <a:cubicBezTo>
                    <a:pt x="11" y="320"/>
                    <a:pt x="11" y="320"/>
                    <a:pt x="11" y="320"/>
                  </a:cubicBezTo>
                  <a:cubicBezTo>
                    <a:pt x="5" y="320"/>
                    <a:pt x="0" y="315"/>
                    <a:pt x="0" y="30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1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30" y="0"/>
                    <a:pt x="235" y="4"/>
                    <a:pt x="235" y="10"/>
                  </a:cubicBezTo>
                  <a:close/>
                  <a:moveTo>
                    <a:pt x="214" y="21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2" y="298"/>
                    <a:pt x="22" y="298"/>
                    <a:pt x="22" y="298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14" y="21"/>
                  </a:lnTo>
                  <a:close/>
                  <a:moveTo>
                    <a:pt x="54" y="160"/>
                  </a:moveTo>
                  <a:cubicBezTo>
                    <a:pt x="182" y="160"/>
                    <a:pt x="182" y="160"/>
                    <a:pt x="182" y="160"/>
                  </a:cubicBezTo>
                  <a:cubicBezTo>
                    <a:pt x="188" y="160"/>
                    <a:pt x="192" y="155"/>
                    <a:pt x="192" y="149"/>
                  </a:cubicBezTo>
                  <a:cubicBezTo>
                    <a:pt x="192" y="143"/>
                    <a:pt x="188" y="138"/>
                    <a:pt x="182" y="138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8" y="138"/>
                    <a:pt x="43" y="143"/>
                    <a:pt x="43" y="149"/>
                  </a:cubicBezTo>
                  <a:cubicBezTo>
                    <a:pt x="43" y="155"/>
                    <a:pt x="48" y="160"/>
                    <a:pt x="54" y="160"/>
                  </a:cubicBezTo>
                  <a:close/>
                  <a:moveTo>
                    <a:pt x="54" y="117"/>
                  </a:moveTo>
                  <a:cubicBezTo>
                    <a:pt x="182" y="117"/>
                    <a:pt x="182" y="117"/>
                    <a:pt x="182" y="117"/>
                  </a:cubicBezTo>
                  <a:cubicBezTo>
                    <a:pt x="188" y="117"/>
                    <a:pt x="192" y="112"/>
                    <a:pt x="192" y="106"/>
                  </a:cubicBezTo>
                  <a:cubicBezTo>
                    <a:pt x="192" y="100"/>
                    <a:pt x="188" y="96"/>
                    <a:pt x="182" y="96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48" y="96"/>
                    <a:pt x="43" y="100"/>
                    <a:pt x="43" y="106"/>
                  </a:cubicBezTo>
                  <a:cubicBezTo>
                    <a:pt x="43" y="112"/>
                    <a:pt x="48" y="117"/>
                    <a:pt x="54" y="117"/>
                  </a:cubicBezTo>
                  <a:close/>
                  <a:moveTo>
                    <a:pt x="159" y="233"/>
                  </a:moveTo>
                  <a:cubicBezTo>
                    <a:pt x="159" y="234"/>
                    <a:pt x="159" y="234"/>
                    <a:pt x="159" y="234"/>
                  </a:cubicBezTo>
                  <a:cubicBezTo>
                    <a:pt x="159" y="235"/>
                    <a:pt x="159" y="235"/>
                    <a:pt x="159" y="235"/>
                  </a:cubicBezTo>
                  <a:cubicBezTo>
                    <a:pt x="160" y="238"/>
                    <a:pt x="162" y="243"/>
                    <a:pt x="160" y="248"/>
                  </a:cubicBezTo>
                  <a:cubicBezTo>
                    <a:pt x="158" y="254"/>
                    <a:pt x="154" y="256"/>
                    <a:pt x="151" y="258"/>
                  </a:cubicBezTo>
                  <a:cubicBezTo>
                    <a:pt x="151" y="258"/>
                    <a:pt x="151" y="258"/>
                    <a:pt x="151" y="258"/>
                  </a:cubicBezTo>
                  <a:cubicBezTo>
                    <a:pt x="151" y="259"/>
                    <a:pt x="151" y="259"/>
                    <a:pt x="151" y="259"/>
                  </a:cubicBezTo>
                  <a:cubicBezTo>
                    <a:pt x="150" y="262"/>
                    <a:pt x="148" y="267"/>
                    <a:pt x="144" y="270"/>
                  </a:cubicBezTo>
                  <a:cubicBezTo>
                    <a:pt x="139" y="274"/>
                    <a:pt x="134" y="274"/>
                    <a:pt x="131" y="273"/>
                  </a:cubicBezTo>
                  <a:cubicBezTo>
                    <a:pt x="131" y="273"/>
                    <a:pt x="131" y="273"/>
                    <a:pt x="130" y="273"/>
                  </a:cubicBezTo>
                  <a:cubicBezTo>
                    <a:pt x="130" y="273"/>
                    <a:pt x="130" y="274"/>
                    <a:pt x="130" y="274"/>
                  </a:cubicBezTo>
                  <a:cubicBezTo>
                    <a:pt x="127" y="276"/>
                    <a:pt x="123" y="279"/>
                    <a:pt x="118" y="279"/>
                  </a:cubicBezTo>
                  <a:cubicBezTo>
                    <a:pt x="112" y="279"/>
                    <a:pt x="108" y="276"/>
                    <a:pt x="105" y="274"/>
                  </a:cubicBezTo>
                  <a:cubicBezTo>
                    <a:pt x="105" y="274"/>
                    <a:pt x="105" y="273"/>
                    <a:pt x="105" y="273"/>
                  </a:cubicBezTo>
                  <a:cubicBezTo>
                    <a:pt x="105" y="273"/>
                    <a:pt x="104" y="273"/>
                    <a:pt x="104" y="273"/>
                  </a:cubicBezTo>
                  <a:cubicBezTo>
                    <a:pt x="101" y="274"/>
                    <a:pt x="96" y="274"/>
                    <a:pt x="91" y="270"/>
                  </a:cubicBezTo>
                  <a:cubicBezTo>
                    <a:pt x="87" y="267"/>
                    <a:pt x="86" y="262"/>
                    <a:pt x="85" y="259"/>
                  </a:cubicBezTo>
                  <a:cubicBezTo>
                    <a:pt x="85" y="259"/>
                    <a:pt x="85" y="259"/>
                    <a:pt x="85" y="258"/>
                  </a:cubicBezTo>
                  <a:cubicBezTo>
                    <a:pt x="84" y="258"/>
                    <a:pt x="84" y="258"/>
                    <a:pt x="84" y="258"/>
                  </a:cubicBezTo>
                  <a:cubicBezTo>
                    <a:pt x="81" y="256"/>
                    <a:pt x="77" y="254"/>
                    <a:pt x="75" y="248"/>
                  </a:cubicBezTo>
                  <a:cubicBezTo>
                    <a:pt x="74" y="243"/>
                    <a:pt x="75" y="238"/>
                    <a:pt x="76" y="235"/>
                  </a:cubicBezTo>
                  <a:cubicBezTo>
                    <a:pt x="77" y="235"/>
                    <a:pt x="77" y="235"/>
                    <a:pt x="77" y="234"/>
                  </a:cubicBezTo>
                  <a:cubicBezTo>
                    <a:pt x="77" y="234"/>
                    <a:pt x="77" y="234"/>
                    <a:pt x="76" y="233"/>
                  </a:cubicBezTo>
                  <a:cubicBezTo>
                    <a:pt x="75" y="231"/>
                    <a:pt x="74" y="226"/>
                    <a:pt x="75" y="221"/>
                  </a:cubicBezTo>
                  <a:cubicBezTo>
                    <a:pt x="77" y="215"/>
                    <a:pt x="81" y="212"/>
                    <a:pt x="84" y="211"/>
                  </a:cubicBezTo>
                  <a:cubicBezTo>
                    <a:pt x="84" y="211"/>
                    <a:pt x="84" y="210"/>
                    <a:pt x="85" y="210"/>
                  </a:cubicBezTo>
                  <a:cubicBezTo>
                    <a:pt x="85" y="210"/>
                    <a:pt x="85" y="210"/>
                    <a:pt x="85" y="210"/>
                  </a:cubicBezTo>
                  <a:cubicBezTo>
                    <a:pt x="86" y="207"/>
                    <a:pt x="87" y="202"/>
                    <a:pt x="91" y="198"/>
                  </a:cubicBezTo>
                  <a:cubicBezTo>
                    <a:pt x="96" y="195"/>
                    <a:pt x="101" y="195"/>
                    <a:pt x="104" y="195"/>
                  </a:cubicBezTo>
                  <a:cubicBezTo>
                    <a:pt x="104" y="195"/>
                    <a:pt x="105" y="195"/>
                    <a:pt x="105" y="195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8" y="193"/>
                    <a:pt x="112" y="190"/>
                    <a:pt x="118" y="190"/>
                  </a:cubicBezTo>
                  <a:cubicBezTo>
                    <a:pt x="123" y="190"/>
                    <a:pt x="127" y="193"/>
                    <a:pt x="130" y="195"/>
                  </a:cubicBezTo>
                  <a:cubicBezTo>
                    <a:pt x="130" y="195"/>
                    <a:pt x="130" y="195"/>
                    <a:pt x="130" y="195"/>
                  </a:cubicBezTo>
                  <a:cubicBezTo>
                    <a:pt x="131" y="195"/>
                    <a:pt x="131" y="195"/>
                    <a:pt x="131" y="195"/>
                  </a:cubicBezTo>
                  <a:cubicBezTo>
                    <a:pt x="134" y="195"/>
                    <a:pt x="139" y="195"/>
                    <a:pt x="144" y="198"/>
                  </a:cubicBezTo>
                  <a:cubicBezTo>
                    <a:pt x="148" y="202"/>
                    <a:pt x="150" y="207"/>
                    <a:pt x="151" y="210"/>
                  </a:cubicBezTo>
                  <a:cubicBezTo>
                    <a:pt x="151" y="210"/>
                    <a:pt x="151" y="210"/>
                    <a:pt x="151" y="210"/>
                  </a:cubicBezTo>
                  <a:cubicBezTo>
                    <a:pt x="151" y="210"/>
                    <a:pt x="151" y="211"/>
                    <a:pt x="151" y="211"/>
                  </a:cubicBezTo>
                  <a:cubicBezTo>
                    <a:pt x="154" y="212"/>
                    <a:pt x="158" y="215"/>
                    <a:pt x="160" y="221"/>
                  </a:cubicBezTo>
                  <a:cubicBezTo>
                    <a:pt x="162" y="226"/>
                    <a:pt x="160" y="231"/>
                    <a:pt x="159" y="233"/>
                  </a:cubicBezTo>
                  <a:close/>
                  <a:moveTo>
                    <a:pt x="137" y="234"/>
                  </a:moveTo>
                  <a:cubicBezTo>
                    <a:pt x="137" y="231"/>
                    <a:pt x="139" y="229"/>
                    <a:pt x="139" y="228"/>
                  </a:cubicBezTo>
                  <a:cubicBezTo>
                    <a:pt x="138" y="226"/>
                    <a:pt x="135" y="225"/>
                    <a:pt x="133" y="223"/>
                  </a:cubicBezTo>
                  <a:cubicBezTo>
                    <a:pt x="132" y="221"/>
                    <a:pt x="131" y="219"/>
                    <a:pt x="130" y="217"/>
                  </a:cubicBezTo>
                  <a:cubicBezTo>
                    <a:pt x="129" y="217"/>
                    <a:pt x="127" y="217"/>
                    <a:pt x="125" y="216"/>
                  </a:cubicBezTo>
                  <a:cubicBezTo>
                    <a:pt x="125" y="216"/>
                    <a:pt x="124" y="216"/>
                    <a:pt x="124" y="216"/>
                  </a:cubicBezTo>
                  <a:cubicBezTo>
                    <a:pt x="123" y="216"/>
                    <a:pt x="123" y="216"/>
                    <a:pt x="123" y="216"/>
                  </a:cubicBezTo>
                  <a:cubicBezTo>
                    <a:pt x="122" y="215"/>
                    <a:pt x="121" y="215"/>
                    <a:pt x="120" y="214"/>
                  </a:cubicBezTo>
                  <a:cubicBezTo>
                    <a:pt x="120" y="214"/>
                    <a:pt x="120" y="214"/>
                    <a:pt x="119" y="214"/>
                  </a:cubicBezTo>
                  <a:cubicBezTo>
                    <a:pt x="119" y="213"/>
                    <a:pt x="118" y="213"/>
                    <a:pt x="118" y="213"/>
                  </a:cubicBezTo>
                  <a:cubicBezTo>
                    <a:pt x="116" y="214"/>
                    <a:pt x="114" y="215"/>
                    <a:pt x="112" y="216"/>
                  </a:cubicBezTo>
                  <a:cubicBezTo>
                    <a:pt x="109" y="217"/>
                    <a:pt x="107" y="217"/>
                    <a:pt x="105" y="217"/>
                  </a:cubicBezTo>
                  <a:cubicBezTo>
                    <a:pt x="104" y="219"/>
                    <a:pt x="103" y="221"/>
                    <a:pt x="101" y="223"/>
                  </a:cubicBezTo>
                  <a:cubicBezTo>
                    <a:pt x="100" y="225"/>
                    <a:pt x="98" y="227"/>
                    <a:pt x="97" y="228"/>
                  </a:cubicBezTo>
                  <a:cubicBezTo>
                    <a:pt x="97" y="230"/>
                    <a:pt x="98" y="232"/>
                    <a:pt x="98" y="235"/>
                  </a:cubicBezTo>
                  <a:cubicBezTo>
                    <a:pt x="98" y="237"/>
                    <a:pt x="97" y="240"/>
                    <a:pt x="96" y="242"/>
                  </a:cubicBezTo>
                  <a:cubicBezTo>
                    <a:pt x="98" y="243"/>
                    <a:pt x="100" y="244"/>
                    <a:pt x="102" y="246"/>
                  </a:cubicBezTo>
                  <a:cubicBezTo>
                    <a:pt x="103" y="248"/>
                    <a:pt x="104" y="250"/>
                    <a:pt x="105" y="252"/>
                  </a:cubicBezTo>
                  <a:cubicBezTo>
                    <a:pt x="106" y="252"/>
                    <a:pt x="108" y="252"/>
                    <a:pt x="110" y="252"/>
                  </a:cubicBezTo>
                  <a:cubicBezTo>
                    <a:pt x="111" y="253"/>
                    <a:pt x="111" y="253"/>
                    <a:pt x="112" y="253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13" y="253"/>
                    <a:pt x="114" y="254"/>
                    <a:pt x="115" y="254"/>
                  </a:cubicBezTo>
                  <a:cubicBezTo>
                    <a:pt x="115" y="255"/>
                    <a:pt x="116" y="255"/>
                    <a:pt x="116" y="255"/>
                  </a:cubicBezTo>
                  <a:cubicBezTo>
                    <a:pt x="117" y="255"/>
                    <a:pt x="117" y="256"/>
                    <a:pt x="118" y="256"/>
                  </a:cubicBezTo>
                  <a:cubicBezTo>
                    <a:pt x="119" y="255"/>
                    <a:pt x="121" y="254"/>
                    <a:pt x="124" y="253"/>
                  </a:cubicBezTo>
                  <a:cubicBezTo>
                    <a:pt x="126" y="252"/>
                    <a:pt x="129" y="252"/>
                    <a:pt x="131" y="252"/>
                  </a:cubicBezTo>
                  <a:cubicBezTo>
                    <a:pt x="131" y="252"/>
                    <a:pt x="131" y="252"/>
                    <a:pt x="131" y="252"/>
                  </a:cubicBezTo>
                  <a:cubicBezTo>
                    <a:pt x="131" y="250"/>
                    <a:pt x="132" y="248"/>
                    <a:pt x="133" y="246"/>
                  </a:cubicBezTo>
                  <a:cubicBezTo>
                    <a:pt x="135" y="244"/>
                    <a:pt x="137" y="242"/>
                    <a:pt x="139" y="241"/>
                  </a:cubicBezTo>
                  <a:cubicBezTo>
                    <a:pt x="138" y="239"/>
                    <a:pt x="137" y="237"/>
                    <a:pt x="137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12424377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3516710" y="875483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58" name="Text Placeholder 9"/>
          <p:cNvSpPr txBox="1">
            <a:spLocks/>
          </p:cNvSpPr>
          <p:nvPr/>
        </p:nvSpPr>
        <p:spPr>
          <a:xfrm>
            <a:off x="364276" y="783962"/>
            <a:ext cx="8352000" cy="4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 dirty="0">
                <a:solidFill>
                  <a:srgbClr val="86BC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quipe</a:t>
            </a:r>
          </a:p>
        </p:txBody>
      </p:sp>
      <p:sp>
        <p:nvSpPr>
          <p:cNvPr id="64" name="Title 8"/>
          <p:cNvSpPr txBox="1">
            <a:spLocks/>
          </p:cNvSpPr>
          <p:nvPr/>
        </p:nvSpPr>
        <p:spPr>
          <a:xfrm>
            <a:off x="364276" y="314470"/>
            <a:ext cx="9523043" cy="4694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Projeto Integrador II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D8123E1-23CF-4F97-BC37-32A8643DCF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438" y="1843907"/>
            <a:ext cx="2163318" cy="2163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16D8ED4-BF4E-4B64-B66D-C8A34250E25F}"/>
              </a:ext>
            </a:extLst>
          </p:cNvPr>
          <p:cNvSpPr txBox="1"/>
          <p:nvPr/>
        </p:nvSpPr>
        <p:spPr>
          <a:xfrm>
            <a:off x="681519" y="4109664"/>
            <a:ext cx="1767155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SzPct val="100000"/>
            </a:pPr>
            <a:r>
              <a:rPr lang="pt-BR" sz="16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abrina Bernardo</a:t>
            </a:r>
          </a:p>
          <a:p>
            <a:pPr algn="ctr">
              <a:buSzPct val="100000"/>
            </a:pPr>
            <a:r>
              <a:rPr lang="pt-BR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ultora Sênior</a:t>
            </a:r>
          </a:p>
          <a:p>
            <a:pPr algn="ctr">
              <a:buSzPct val="100000"/>
            </a:pPr>
            <a:r>
              <a:rPr lang="pt-BR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x – Indirect Tax</a:t>
            </a:r>
          </a:p>
          <a:p>
            <a:pPr algn="ctr">
              <a:buSzPct val="100000"/>
            </a:pPr>
            <a:r>
              <a:rPr lang="pt-BR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ão Paulo/SP</a:t>
            </a:r>
            <a:endParaRPr lang="pt-BR" sz="16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DBDED997-B9D0-4CA7-AFA2-E02422D80E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4953" y="1843907"/>
            <a:ext cx="2136611" cy="2163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E239FDB-7206-4883-A3D3-A75701B1119F}"/>
              </a:ext>
            </a:extLst>
          </p:cNvPr>
          <p:cNvSpPr txBox="1"/>
          <p:nvPr/>
        </p:nvSpPr>
        <p:spPr>
          <a:xfrm>
            <a:off x="5212422" y="4109664"/>
            <a:ext cx="1767155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SzPct val="100000"/>
            </a:pPr>
            <a:r>
              <a:rPr lang="pt-BR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aviana Silverio</a:t>
            </a:r>
            <a:endParaRPr lang="pt-BR" sz="1600" b="1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buSzPct val="100000"/>
            </a:pPr>
            <a:r>
              <a:rPr lang="pt-BR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ultora Sênior</a:t>
            </a:r>
          </a:p>
          <a:p>
            <a:pPr algn="ctr">
              <a:buSzPct val="100000"/>
            </a:pPr>
            <a:r>
              <a:rPr lang="pt-BR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x – Indirect Tax</a:t>
            </a:r>
          </a:p>
          <a:p>
            <a:pPr algn="ctr">
              <a:buSzPct val="100000"/>
            </a:pPr>
            <a:r>
              <a:rPr lang="pt-BR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lo Horizonte/MG</a:t>
            </a:r>
            <a:endParaRPr lang="pt-BR" sz="16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968FA2D7-8D08-47B4-9A8E-F10687B776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9761" y="1843907"/>
            <a:ext cx="2163318" cy="2163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8668D2D-E7E3-40A9-8B7A-EE9F139912A7}"/>
              </a:ext>
            </a:extLst>
          </p:cNvPr>
          <p:cNvSpPr txBox="1"/>
          <p:nvPr/>
        </p:nvSpPr>
        <p:spPr>
          <a:xfrm>
            <a:off x="9537842" y="4109664"/>
            <a:ext cx="1767155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SzPct val="100000"/>
            </a:pPr>
            <a:r>
              <a:rPr lang="pt-BR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ré Fernandes</a:t>
            </a:r>
            <a:endParaRPr lang="pt-BR" sz="1600" b="1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buSzPct val="100000"/>
            </a:pPr>
            <a:r>
              <a:rPr lang="pt-BR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rente</a:t>
            </a:r>
          </a:p>
          <a:p>
            <a:pPr algn="ctr">
              <a:buSzPct val="100000"/>
            </a:pPr>
            <a:r>
              <a:rPr lang="pt-BR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x – Indirect Tax</a:t>
            </a:r>
          </a:p>
          <a:p>
            <a:pPr algn="ctr">
              <a:buSzPct val="100000"/>
            </a:pPr>
            <a:r>
              <a:rPr lang="pt-BR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itiba/PR</a:t>
            </a:r>
            <a:endParaRPr lang="pt-BR" sz="16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004244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3516710" y="875483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70241" y="1614147"/>
            <a:ext cx="11366160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pt-BR" sz="1800" b="1" dirty="0">
                <a:latin typeface="Calibri" panose="020F0502020204030204" pitchFamily="34" charset="0"/>
                <a:cs typeface="Calibri" panose="020F0502020204030204" pitchFamily="34" charset="0"/>
              </a:rPr>
              <a:t>Objetivo do Projeto: </a:t>
            </a:r>
            <a:r>
              <a:rPr lang="pt-BR" sz="1800" dirty="0">
                <a:latin typeface="Calibri" panose="020F0502020204030204" pitchFamily="34" charset="0"/>
                <a:cs typeface="Calibri" panose="020F0502020204030204" pitchFamily="34" charset="0"/>
              </a:rPr>
              <a:t>empregar os conhecimentos adquiridos durante o programa Data </a:t>
            </a:r>
            <a:r>
              <a:rPr lang="pt-BR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Literacy</a:t>
            </a:r>
            <a:r>
              <a:rPr lang="pt-BR" sz="1800" dirty="0">
                <a:latin typeface="Calibri" panose="020F0502020204030204" pitchFamily="34" charset="0"/>
                <a:cs typeface="Calibri" panose="020F0502020204030204" pitchFamily="34" charset="0"/>
              </a:rPr>
              <a:t> da Gama </a:t>
            </a:r>
            <a:r>
              <a:rPr lang="pt-BR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Acadamy</a:t>
            </a:r>
            <a:r>
              <a:rPr lang="pt-BR" sz="1800" dirty="0">
                <a:latin typeface="Calibri" panose="020F0502020204030204" pitchFamily="34" charset="0"/>
                <a:cs typeface="Calibri" panose="020F0502020204030204" pitchFamily="34" charset="0"/>
              </a:rPr>
              <a:t> com objetivo de manusear dados brutos e transformá-los em informação.</a:t>
            </a:r>
          </a:p>
          <a:p>
            <a:pPr algn="just"/>
            <a:endParaRPr lang="pt-BR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pt-BR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pt-BR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pt-BR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pt-BR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pt-BR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Text Placeholder 9"/>
          <p:cNvSpPr txBox="1">
            <a:spLocks/>
          </p:cNvSpPr>
          <p:nvPr/>
        </p:nvSpPr>
        <p:spPr>
          <a:xfrm>
            <a:off x="364276" y="783962"/>
            <a:ext cx="8352000" cy="4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 dirty="0">
                <a:solidFill>
                  <a:srgbClr val="86BC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xto</a:t>
            </a:r>
          </a:p>
        </p:txBody>
      </p:sp>
      <p:sp>
        <p:nvSpPr>
          <p:cNvPr id="64" name="Title 8"/>
          <p:cNvSpPr txBox="1">
            <a:spLocks/>
          </p:cNvSpPr>
          <p:nvPr/>
        </p:nvSpPr>
        <p:spPr>
          <a:xfrm>
            <a:off x="364276" y="314470"/>
            <a:ext cx="9523043" cy="4694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Projeto Integrador II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74ABD97-A99D-493A-8EDE-F0E4DDCA02C3}"/>
              </a:ext>
            </a:extLst>
          </p:cNvPr>
          <p:cNvGrpSpPr/>
          <p:nvPr/>
        </p:nvGrpSpPr>
        <p:grpSpPr>
          <a:xfrm>
            <a:off x="149289" y="3480651"/>
            <a:ext cx="2568929" cy="1090854"/>
            <a:chOff x="-43673" y="2173749"/>
            <a:chExt cx="2568929" cy="109085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26ED872-CBC7-4E1D-B169-9BDCC16EC22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41158" y="2173749"/>
              <a:ext cx="799269" cy="794845"/>
              <a:chOff x="5157788" y="2657475"/>
              <a:chExt cx="3159125" cy="3141663"/>
            </a:xfrm>
            <a:solidFill>
              <a:schemeClr val="accent2"/>
            </a:solidFill>
          </p:grpSpPr>
          <p:sp>
            <p:nvSpPr>
              <p:cNvPr id="7" name="Freeform 9">
                <a:extLst>
                  <a:ext uri="{FF2B5EF4-FFF2-40B4-BE49-F238E27FC236}">
                    <a16:creationId xmlns:a16="http://schemas.microsoft.com/office/drawing/2014/main" id="{94C70C1A-C2A8-4561-80FD-2A3D279935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3451" y="3246438"/>
                <a:ext cx="1447800" cy="1963738"/>
              </a:xfrm>
              <a:custGeom>
                <a:avLst/>
                <a:gdLst>
                  <a:gd name="T0" fmla="*/ 175 w 176"/>
                  <a:gd name="T1" fmla="*/ 61 h 240"/>
                  <a:gd name="T2" fmla="*/ 173 w 176"/>
                  <a:gd name="T3" fmla="*/ 58 h 240"/>
                  <a:gd name="T4" fmla="*/ 117 w 176"/>
                  <a:gd name="T5" fmla="*/ 2 h 240"/>
                  <a:gd name="T6" fmla="*/ 117 w 176"/>
                  <a:gd name="T7" fmla="*/ 2 h 240"/>
                  <a:gd name="T8" fmla="*/ 117 w 176"/>
                  <a:gd name="T9" fmla="*/ 2 h 240"/>
                  <a:gd name="T10" fmla="*/ 117 w 176"/>
                  <a:gd name="T11" fmla="*/ 2 h 240"/>
                  <a:gd name="T12" fmla="*/ 112 w 176"/>
                  <a:gd name="T13" fmla="*/ 0 h 240"/>
                  <a:gd name="T14" fmla="*/ 8 w 176"/>
                  <a:gd name="T15" fmla="*/ 0 h 240"/>
                  <a:gd name="T16" fmla="*/ 0 w 176"/>
                  <a:gd name="T17" fmla="*/ 8 h 240"/>
                  <a:gd name="T18" fmla="*/ 0 w 176"/>
                  <a:gd name="T19" fmla="*/ 232 h 240"/>
                  <a:gd name="T20" fmla="*/ 8 w 176"/>
                  <a:gd name="T21" fmla="*/ 240 h 240"/>
                  <a:gd name="T22" fmla="*/ 168 w 176"/>
                  <a:gd name="T23" fmla="*/ 240 h 240"/>
                  <a:gd name="T24" fmla="*/ 176 w 176"/>
                  <a:gd name="T25" fmla="*/ 232 h 240"/>
                  <a:gd name="T26" fmla="*/ 176 w 176"/>
                  <a:gd name="T27" fmla="*/ 64 h 240"/>
                  <a:gd name="T28" fmla="*/ 176 w 176"/>
                  <a:gd name="T29" fmla="*/ 64 h 240"/>
                  <a:gd name="T30" fmla="*/ 175 w 176"/>
                  <a:gd name="T31" fmla="*/ 61 h 240"/>
                  <a:gd name="T32" fmla="*/ 120 w 176"/>
                  <a:gd name="T33" fmla="*/ 27 h 240"/>
                  <a:gd name="T34" fmla="*/ 148 w 176"/>
                  <a:gd name="T35" fmla="*/ 56 h 240"/>
                  <a:gd name="T36" fmla="*/ 120 w 176"/>
                  <a:gd name="T37" fmla="*/ 56 h 240"/>
                  <a:gd name="T38" fmla="*/ 120 w 176"/>
                  <a:gd name="T39" fmla="*/ 27 h 240"/>
                  <a:gd name="T40" fmla="*/ 160 w 176"/>
                  <a:gd name="T41" fmla="*/ 224 h 240"/>
                  <a:gd name="T42" fmla="*/ 16 w 176"/>
                  <a:gd name="T43" fmla="*/ 224 h 240"/>
                  <a:gd name="T44" fmla="*/ 16 w 176"/>
                  <a:gd name="T45" fmla="*/ 16 h 240"/>
                  <a:gd name="T46" fmla="*/ 104 w 176"/>
                  <a:gd name="T47" fmla="*/ 16 h 240"/>
                  <a:gd name="T48" fmla="*/ 104 w 176"/>
                  <a:gd name="T49" fmla="*/ 64 h 240"/>
                  <a:gd name="T50" fmla="*/ 112 w 176"/>
                  <a:gd name="T51" fmla="*/ 72 h 240"/>
                  <a:gd name="T52" fmla="*/ 160 w 176"/>
                  <a:gd name="T53" fmla="*/ 72 h 240"/>
                  <a:gd name="T54" fmla="*/ 160 w 176"/>
                  <a:gd name="T55" fmla="*/ 224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76" h="240">
                    <a:moveTo>
                      <a:pt x="175" y="61"/>
                    </a:moveTo>
                    <a:cubicBezTo>
                      <a:pt x="175" y="60"/>
                      <a:pt x="174" y="59"/>
                      <a:pt x="173" y="58"/>
                    </a:cubicBezTo>
                    <a:cubicBezTo>
                      <a:pt x="117" y="2"/>
                      <a:pt x="117" y="2"/>
                      <a:pt x="117" y="2"/>
                    </a:cubicBezTo>
                    <a:cubicBezTo>
                      <a:pt x="117" y="2"/>
                      <a:pt x="117" y="2"/>
                      <a:pt x="117" y="2"/>
                    </a:cubicBezTo>
                    <a:cubicBezTo>
                      <a:pt x="117" y="2"/>
                      <a:pt x="117" y="2"/>
                      <a:pt x="117" y="2"/>
                    </a:cubicBezTo>
                    <a:cubicBezTo>
                      <a:pt x="117" y="2"/>
                      <a:pt x="117" y="2"/>
                      <a:pt x="117" y="2"/>
                    </a:cubicBezTo>
                    <a:cubicBezTo>
                      <a:pt x="116" y="0"/>
                      <a:pt x="114" y="0"/>
                      <a:pt x="112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3" y="0"/>
                      <a:pt x="0" y="3"/>
                      <a:pt x="0" y="8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36"/>
                      <a:pt x="3" y="240"/>
                      <a:pt x="8" y="240"/>
                    </a:cubicBezTo>
                    <a:cubicBezTo>
                      <a:pt x="168" y="240"/>
                      <a:pt x="168" y="240"/>
                      <a:pt x="168" y="240"/>
                    </a:cubicBezTo>
                    <a:cubicBezTo>
                      <a:pt x="172" y="240"/>
                      <a:pt x="176" y="236"/>
                      <a:pt x="176" y="232"/>
                    </a:cubicBezTo>
                    <a:cubicBezTo>
                      <a:pt x="176" y="64"/>
                      <a:pt x="176" y="64"/>
                      <a:pt x="176" y="64"/>
                    </a:cubicBezTo>
                    <a:cubicBezTo>
                      <a:pt x="176" y="64"/>
                      <a:pt x="176" y="64"/>
                      <a:pt x="176" y="64"/>
                    </a:cubicBezTo>
                    <a:cubicBezTo>
                      <a:pt x="176" y="63"/>
                      <a:pt x="175" y="62"/>
                      <a:pt x="175" y="61"/>
                    </a:cubicBezTo>
                    <a:close/>
                    <a:moveTo>
                      <a:pt x="120" y="27"/>
                    </a:moveTo>
                    <a:cubicBezTo>
                      <a:pt x="148" y="56"/>
                      <a:pt x="148" y="56"/>
                      <a:pt x="148" y="56"/>
                    </a:cubicBezTo>
                    <a:cubicBezTo>
                      <a:pt x="120" y="56"/>
                      <a:pt x="120" y="56"/>
                      <a:pt x="120" y="56"/>
                    </a:cubicBezTo>
                    <a:lnTo>
                      <a:pt x="120" y="27"/>
                    </a:lnTo>
                    <a:close/>
                    <a:moveTo>
                      <a:pt x="160" y="224"/>
                    </a:moveTo>
                    <a:cubicBezTo>
                      <a:pt x="16" y="224"/>
                      <a:pt x="16" y="224"/>
                      <a:pt x="16" y="224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04" y="16"/>
                      <a:pt x="104" y="16"/>
                      <a:pt x="104" y="16"/>
                    </a:cubicBezTo>
                    <a:cubicBezTo>
                      <a:pt x="104" y="64"/>
                      <a:pt x="104" y="64"/>
                      <a:pt x="104" y="64"/>
                    </a:cubicBezTo>
                    <a:cubicBezTo>
                      <a:pt x="104" y="68"/>
                      <a:pt x="107" y="72"/>
                      <a:pt x="112" y="72"/>
                    </a:cubicBezTo>
                    <a:cubicBezTo>
                      <a:pt x="160" y="72"/>
                      <a:pt x="160" y="72"/>
                      <a:pt x="160" y="72"/>
                    </a:cubicBezTo>
                    <a:lnTo>
                      <a:pt x="160" y="22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10">
                <a:extLst>
                  <a:ext uri="{FF2B5EF4-FFF2-40B4-BE49-F238E27FC236}">
                    <a16:creationId xmlns:a16="http://schemas.microsoft.com/office/drawing/2014/main" id="{BDE4E0F4-FB5F-4E2D-A72A-69DA8AD974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888" y="4024313"/>
                <a:ext cx="542925" cy="727075"/>
              </a:xfrm>
              <a:custGeom>
                <a:avLst/>
                <a:gdLst>
                  <a:gd name="T0" fmla="*/ 2 w 66"/>
                  <a:gd name="T1" fmla="*/ 76 h 89"/>
                  <a:gd name="T2" fmla="*/ 4 w 66"/>
                  <a:gd name="T3" fmla="*/ 87 h 89"/>
                  <a:gd name="T4" fmla="*/ 9 w 66"/>
                  <a:gd name="T5" fmla="*/ 89 h 89"/>
                  <a:gd name="T6" fmla="*/ 15 w 66"/>
                  <a:gd name="T7" fmla="*/ 85 h 89"/>
                  <a:gd name="T8" fmla="*/ 63 w 66"/>
                  <a:gd name="T9" fmla="*/ 13 h 89"/>
                  <a:gd name="T10" fmla="*/ 61 w 66"/>
                  <a:gd name="T11" fmla="*/ 2 h 89"/>
                  <a:gd name="T12" fmla="*/ 50 w 66"/>
                  <a:gd name="T13" fmla="*/ 4 h 89"/>
                  <a:gd name="T14" fmla="*/ 2 w 66"/>
                  <a:gd name="T15" fmla="*/ 76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89">
                    <a:moveTo>
                      <a:pt x="2" y="76"/>
                    </a:moveTo>
                    <a:cubicBezTo>
                      <a:pt x="0" y="80"/>
                      <a:pt x="1" y="85"/>
                      <a:pt x="4" y="87"/>
                    </a:cubicBezTo>
                    <a:cubicBezTo>
                      <a:pt x="6" y="88"/>
                      <a:pt x="7" y="89"/>
                      <a:pt x="9" y="89"/>
                    </a:cubicBezTo>
                    <a:cubicBezTo>
                      <a:pt x="11" y="89"/>
                      <a:pt x="14" y="87"/>
                      <a:pt x="15" y="85"/>
                    </a:cubicBezTo>
                    <a:cubicBezTo>
                      <a:pt x="63" y="13"/>
                      <a:pt x="63" y="13"/>
                      <a:pt x="63" y="13"/>
                    </a:cubicBezTo>
                    <a:cubicBezTo>
                      <a:pt x="66" y="9"/>
                      <a:pt x="65" y="4"/>
                      <a:pt x="61" y="2"/>
                    </a:cubicBezTo>
                    <a:cubicBezTo>
                      <a:pt x="57" y="0"/>
                      <a:pt x="52" y="1"/>
                      <a:pt x="50" y="4"/>
                    </a:cubicBezTo>
                    <a:lnTo>
                      <a:pt x="2" y="7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11">
                <a:extLst>
                  <a:ext uri="{FF2B5EF4-FFF2-40B4-BE49-F238E27FC236}">
                    <a16:creationId xmlns:a16="http://schemas.microsoft.com/office/drawing/2014/main" id="{50AAD8EE-8EEF-4669-A06D-74DBA2576F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6976" y="3957638"/>
                <a:ext cx="336550" cy="401638"/>
              </a:xfrm>
              <a:custGeom>
                <a:avLst/>
                <a:gdLst>
                  <a:gd name="T0" fmla="*/ 32 w 41"/>
                  <a:gd name="T1" fmla="*/ 49 h 49"/>
                  <a:gd name="T2" fmla="*/ 38 w 41"/>
                  <a:gd name="T3" fmla="*/ 45 h 49"/>
                  <a:gd name="T4" fmla="*/ 36 w 41"/>
                  <a:gd name="T5" fmla="*/ 34 h 49"/>
                  <a:gd name="T6" fmla="*/ 22 w 41"/>
                  <a:gd name="T7" fmla="*/ 25 h 49"/>
                  <a:gd name="T8" fmla="*/ 36 w 41"/>
                  <a:gd name="T9" fmla="*/ 15 h 49"/>
                  <a:gd name="T10" fmla="*/ 38 w 41"/>
                  <a:gd name="T11" fmla="*/ 4 h 49"/>
                  <a:gd name="T12" fmla="*/ 27 w 41"/>
                  <a:gd name="T13" fmla="*/ 2 h 49"/>
                  <a:gd name="T14" fmla="*/ 3 w 41"/>
                  <a:gd name="T15" fmla="*/ 18 h 49"/>
                  <a:gd name="T16" fmla="*/ 0 w 41"/>
                  <a:gd name="T17" fmla="*/ 25 h 49"/>
                  <a:gd name="T18" fmla="*/ 3 w 41"/>
                  <a:gd name="T19" fmla="*/ 31 h 49"/>
                  <a:gd name="T20" fmla="*/ 27 w 41"/>
                  <a:gd name="T21" fmla="*/ 47 h 49"/>
                  <a:gd name="T22" fmla="*/ 32 w 41"/>
                  <a:gd name="T2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49">
                    <a:moveTo>
                      <a:pt x="32" y="49"/>
                    </a:moveTo>
                    <a:cubicBezTo>
                      <a:pt x="34" y="49"/>
                      <a:pt x="37" y="47"/>
                      <a:pt x="38" y="45"/>
                    </a:cubicBezTo>
                    <a:cubicBezTo>
                      <a:pt x="41" y="41"/>
                      <a:pt x="40" y="36"/>
                      <a:pt x="36" y="34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36" y="15"/>
                      <a:pt x="36" y="15"/>
                      <a:pt x="36" y="15"/>
                    </a:cubicBezTo>
                    <a:cubicBezTo>
                      <a:pt x="40" y="13"/>
                      <a:pt x="41" y="8"/>
                      <a:pt x="38" y="4"/>
                    </a:cubicBezTo>
                    <a:cubicBezTo>
                      <a:pt x="36" y="1"/>
                      <a:pt x="31" y="0"/>
                      <a:pt x="27" y="2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1" y="19"/>
                      <a:pt x="0" y="22"/>
                      <a:pt x="0" y="25"/>
                    </a:cubicBezTo>
                    <a:cubicBezTo>
                      <a:pt x="0" y="27"/>
                      <a:pt x="1" y="30"/>
                      <a:pt x="3" y="31"/>
                    </a:cubicBezTo>
                    <a:cubicBezTo>
                      <a:pt x="27" y="47"/>
                      <a:pt x="27" y="47"/>
                      <a:pt x="27" y="47"/>
                    </a:cubicBezTo>
                    <a:cubicBezTo>
                      <a:pt x="29" y="48"/>
                      <a:pt x="30" y="49"/>
                      <a:pt x="32" y="4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12">
                <a:extLst>
                  <a:ext uri="{FF2B5EF4-FFF2-40B4-BE49-F238E27FC236}">
                    <a16:creationId xmlns:a16="http://schemas.microsoft.com/office/drawing/2014/main" id="{A4014379-8431-4989-9971-CB8C2B4C79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1176" y="4416425"/>
                <a:ext cx="336550" cy="401638"/>
              </a:xfrm>
              <a:custGeom>
                <a:avLst/>
                <a:gdLst>
                  <a:gd name="T0" fmla="*/ 2 w 41"/>
                  <a:gd name="T1" fmla="*/ 4 h 49"/>
                  <a:gd name="T2" fmla="*/ 4 w 41"/>
                  <a:gd name="T3" fmla="*/ 15 h 49"/>
                  <a:gd name="T4" fmla="*/ 18 w 41"/>
                  <a:gd name="T5" fmla="*/ 25 h 49"/>
                  <a:gd name="T6" fmla="*/ 4 w 41"/>
                  <a:gd name="T7" fmla="*/ 34 h 49"/>
                  <a:gd name="T8" fmla="*/ 2 w 41"/>
                  <a:gd name="T9" fmla="*/ 45 h 49"/>
                  <a:gd name="T10" fmla="*/ 9 w 41"/>
                  <a:gd name="T11" fmla="*/ 49 h 49"/>
                  <a:gd name="T12" fmla="*/ 13 w 41"/>
                  <a:gd name="T13" fmla="*/ 47 h 49"/>
                  <a:gd name="T14" fmla="*/ 37 w 41"/>
                  <a:gd name="T15" fmla="*/ 31 h 49"/>
                  <a:gd name="T16" fmla="*/ 41 w 41"/>
                  <a:gd name="T17" fmla="*/ 25 h 49"/>
                  <a:gd name="T18" fmla="*/ 37 w 41"/>
                  <a:gd name="T19" fmla="*/ 18 h 49"/>
                  <a:gd name="T20" fmla="*/ 13 w 41"/>
                  <a:gd name="T21" fmla="*/ 2 h 49"/>
                  <a:gd name="T22" fmla="*/ 2 w 41"/>
                  <a:gd name="T23" fmla="*/ 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49">
                    <a:moveTo>
                      <a:pt x="2" y="4"/>
                    </a:moveTo>
                    <a:cubicBezTo>
                      <a:pt x="0" y="8"/>
                      <a:pt x="1" y="13"/>
                      <a:pt x="4" y="15"/>
                    </a:cubicBezTo>
                    <a:cubicBezTo>
                      <a:pt x="18" y="25"/>
                      <a:pt x="18" y="25"/>
                      <a:pt x="18" y="25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1" y="36"/>
                      <a:pt x="0" y="41"/>
                      <a:pt x="2" y="45"/>
                    </a:cubicBezTo>
                    <a:cubicBezTo>
                      <a:pt x="4" y="47"/>
                      <a:pt x="6" y="49"/>
                      <a:pt x="9" y="49"/>
                    </a:cubicBezTo>
                    <a:cubicBezTo>
                      <a:pt x="10" y="49"/>
                      <a:pt x="12" y="48"/>
                      <a:pt x="13" y="47"/>
                    </a:cubicBezTo>
                    <a:cubicBezTo>
                      <a:pt x="37" y="31"/>
                      <a:pt x="37" y="31"/>
                      <a:pt x="37" y="31"/>
                    </a:cubicBezTo>
                    <a:cubicBezTo>
                      <a:pt x="39" y="30"/>
                      <a:pt x="41" y="27"/>
                      <a:pt x="41" y="25"/>
                    </a:cubicBezTo>
                    <a:cubicBezTo>
                      <a:pt x="41" y="22"/>
                      <a:pt x="39" y="19"/>
                      <a:pt x="37" y="18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9" y="0"/>
                      <a:pt x="4" y="1"/>
                      <a:pt x="2" y="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13">
                <a:extLst>
                  <a:ext uri="{FF2B5EF4-FFF2-40B4-BE49-F238E27FC236}">
                    <a16:creationId xmlns:a16="http://schemas.microsoft.com/office/drawing/2014/main" id="{6FF764D9-4C14-477E-B6BD-F1C3B35C58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7788" y="2657475"/>
                <a:ext cx="3159125" cy="3141663"/>
              </a:xfrm>
              <a:custGeom>
                <a:avLst/>
                <a:gdLst>
                  <a:gd name="T0" fmla="*/ 192 w 384"/>
                  <a:gd name="T1" fmla="*/ 16 h 384"/>
                  <a:gd name="T2" fmla="*/ 368 w 384"/>
                  <a:gd name="T3" fmla="*/ 192 h 384"/>
                  <a:gd name="T4" fmla="*/ 192 w 384"/>
                  <a:gd name="T5" fmla="*/ 368 h 384"/>
                  <a:gd name="T6" fmla="*/ 16 w 384"/>
                  <a:gd name="T7" fmla="*/ 192 h 384"/>
                  <a:gd name="T8" fmla="*/ 192 w 384"/>
                  <a:gd name="T9" fmla="*/ 16 h 384"/>
                  <a:gd name="T10" fmla="*/ 192 w 384"/>
                  <a:gd name="T11" fmla="*/ 0 h 384"/>
                  <a:gd name="T12" fmla="*/ 0 w 384"/>
                  <a:gd name="T13" fmla="*/ 192 h 384"/>
                  <a:gd name="T14" fmla="*/ 192 w 384"/>
                  <a:gd name="T15" fmla="*/ 384 h 384"/>
                  <a:gd name="T16" fmla="*/ 384 w 384"/>
                  <a:gd name="T17" fmla="*/ 192 h 384"/>
                  <a:gd name="T18" fmla="*/ 192 w 384"/>
                  <a:gd name="T19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4" h="384">
                    <a:moveTo>
                      <a:pt x="192" y="16"/>
                    </a:moveTo>
                    <a:cubicBezTo>
                      <a:pt x="289" y="16"/>
                      <a:pt x="368" y="95"/>
                      <a:pt x="368" y="192"/>
                    </a:cubicBezTo>
                    <a:cubicBezTo>
                      <a:pt x="368" y="289"/>
                      <a:pt x="289" y="368"/>
                      <a:pt x="192" y="368"/>
                    </a:cubicBezTo>
                    <a:cubicBezTo>
                      <a:pt x="95" y="368"/>
                      <a:pt x="16" y="289"/>
                      <a:pt x="16" y="192"/>
                    </a:cubicBezTo>
                    <a:cubicBezTo>
                      <a:pt x="16" y="95"/>
                      <a:pt x="95" y="16"/>
                      <a:pt x="192" y="16"/>
                    </a:cubicBezTo>
                    <a:moveTo>
                      <a:pt x="192" y="0"/>
                    </a:moveTo>
                    <a:cubicBezTo>
                      <a:pt x="86" y="0"/>
                      <a:pt x="0" y="86"/>
                      <a:pt x="0" y="192"/>
                    </a:cubicBezTo>
                    <a:cubicBezTo>
                      <a:pt x="0" y="298"/>
                      <a:pt x="86" y="384"/>
                      <a:pt x="192" y="384"/>
                    </a:cubicBezTo>
                    <a:cubicBezTo>
                      <a:pt x="298" y="384"/>
                      <a:pt x="384" y="298"/>
                      <a:pt x="384" y="192"/>
                    </a:cubicBezTo>
                    <a:cubicBezTo>
                      <a:pt x="384" y="86"/>
                      <a:pt x="298" y="0"/>
                      <a:pt x="19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9A74F44A-22F6-457D-B27F-7C6077BD09B0}"/>
                </a:ext>
              </a:extLst>
            </p:cNvPr>
            <p:cNvSpPr txBox="1"/>
            <p:nvPr/>
          </p:nvSpPr>
          <p:spPr>
            <a:xfrm>
              <a:off x="-43673" y="3049159"/>
              <a:ext cx="256892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pt-BR" sz="1400" b="1" dirty="0">
                  <a:solidFill>
                    <a:srgbClr val="31313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ase Brasil.csv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4D1F5FA-6CBA-4ED3-A7B4-BAEE4813B05A}"/>
              </a:ext>
            </a:extLst>
          </p:cNvPr>
          <p:cNvGrpSpPr/>
          <p:nvPr/>
        </p:nvGrpSpPr>
        <p:grpSpPr>
          <a:xfrm>
            <a:off x="1764708" y="3480651"/>
            <a:ext cx="2568929" cy="1090854"/>
            <a:chOff x="-43673" y="2173749"/>
            <a:chExt cx="2568929" cy="1090854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4E47941-3838-45C1-A45B-E570AC7F376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41158" y="2173749"/>
              <a:ext cx="799269" cy="794845"/>
              <a:chOff x="5157788" y="2657475"/>
              <a:chExt cx="3159125" cy="3141663"/>
            </a:xfrm>
            <a:solidFill>
              <a:schemeClr val="accent2"/>
            </a:solidFill>
          </p:grpSpPr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D0BCDB02-3299-4397-BFC9-1C9A2CE8DB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3451" y="3246438"/>
                <a:ext cx="1447800" cy="1963738"/>
              </a:xfrm>
              <a:custGeom>
                <a:avLst/>
                <a:gdLst>
                  <a:gd name="T0" fmla="*/ 175 w 176"/>
                  <a:gd name="T1" fmla="*/ 61 h 240"/>
                  <a:gd name="T2" fmla="*/ 173 w 176"/>
                  <a:gd name="T3" fmla="*/ 58 h 240"/>
                  <a:gd name="T4" fmla="*/ 117 w 176"/>
                  <a:gd name="T5" fmla="*/ 2 h 240"/>
                  <a:gd name="T6" fmla="*/ 117 w 176"/>
                  <a:gd name="T7" fmla="*/ 2 h 240"/>
                  <a:gd name="T8" fmla="*/ 117 w 176"/>
                  <a:gd name="T9" fmla="*/ 2 h 240"/>
                  <a:gd name="T10" fmla="*/ 117 w 176"/>
                  <a:gd name="T11" fmla="*/ 2 h 240"/>
                  <a:gd name="T12" fmla="*/ 112 w 176"/>
                  <a:gd name="T13" fmla="*/ 0 h 240"/>
                  <a:gd name="T14" fmla="*/ 8 w 176"/>
                  <a:gd name="T15" fmla="*/ 0 h 240"/>
                  <a:gd name="T16" fmla="*/ 0 w 176"/>
                  <a:gd name="T17" fmla="*/ 8 h 240"/>
                  <a:gd name="T18" fmla="*/ 0 w 176"/>
                  <a:gd name="T19" fmla="*/ 232 h 240"/>
                  <a:gd name="T20" fmla="*/ 8 w 176"/>
                  <a:gd name="T21" fmla="*/ 240 h 240"/>
                  <a:gd name="T22" fmla="*/ 168 w 176"/>
                  <a:gd name="T23" fmla="*/ 240 h 240"/>
                  <a:gd name="T24" fmla="*/ 176 w 176"/>
                  <a:gd name="T25" fmla="*/ 232 h 240"/>
                  <a:gd name="T26" fmla="*/ 176 w 176"/>
                  <a:gd name="T27" fmla="*/ 64 h 240"/>
                  <a:gd name="T28" fmla="*/ 176 w 176"/>
                  <a:gd name="T29" fmla="*/ 64 h 240"/>
                  <a:gd name="T30" fmla="*/ 175 w 176"/>
                  <a:gd name="T31" fmla="*/ 61 h 240"/>
                  <a:gd name="T32" fmla="*/ 120 w 176"/>
                  <a:gd name="T33" fmla="*/ 27 h 240"/>
                  <a:gd name="T34" fmla="*/ 148 w 176"/>
                  <a:gd name="T35" fmla="*/ 56 h 240"/>
                  <a:gd name="T36" fmla="*/ 120 w 176"/>
                  <a:gd name="T37" fmla="*/ 56 h 240"/>
                  <a:gd name="T38" fmla="*/ 120 w 176"/>
                  <a:gd name="T39" fmla="*/ 27 h 240"/>
                  <a:gd name="T40" fmla="*/ 160 w 176"/>
                  <a:gd name="T41" fmla="*/ 224 h 240"/>
                  <a:gd name="T42" fmla="*/ 16 w 176"/>
                  <a:gd name="T43" fmla="*/ 224 h 240"/>
                  <a:gd name="T44" fmla="*/ 16 w 176"/>
                  <a:gd name="T45" fmla="*/ 16 h 240"/>
                  <a:gd name="T46" fmla="*/ 104 w 176"/>
                  <a:gd name="T47" fmla="*/ 16 h 240"/>
                  <a:gd name="T48" fmla="*/ 104 w 176"/>
                  <a:gd name="T49" fmla="*/ 64 h 240"/>
                  <a:gd name="T50" fmla="*/ 112 w 176"/>
                  <a:gd name="T51" fmla="*/ 72 h 240"/>
                  <a:gd name="T52" fmla="*/ 160 w 176"/>
                  <a:gd name="T53" fmla="*/ 72 h 240"/>
                  <a:gd name="T54" fmla="*/ 160 w 176"/>
                  <a:gd name="T55" fmla="*/ 224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76" h="240">
                    <a:moveTo>
                      <a:pt x="175" y="61"/>
                    </a:moveTo>
                    <a:cubicBezTo>
                      <a:pt x="175" y="60"/>
                      <a:pt x="174" y="59"/>
                      <a:pt x="173" y="58"/>
                    </a:cubicBezTo>
                    <a:cubicBezTo>
                      <a:pt x="117" y="2"/>
                      <a:pt x="117" y="2"/>
                      <a:pt x="117" y="2"/>
                    </a:cubicBezTo>
                    <a:cubicBezTo>
                      <a:pt x="117" y="2"/>
                      <a:pt x="117" y="2"/>
                      <a:pt x="117" y="2"/>
                    </a:cubicBezTo>
                    <a:cubicBezTo>
                      <a:pt x="117" y="2"/>
                      <a:pt x="117" y="2"/>
                      <a:pt x="117" y="2"/>
                    </a:cubicBezTo>
                    <a:cubicBezTo>
                      <a:pt x="117" y="2"/>
                      <a:pt x="117" y="2"/>
                      <a:pt x="117" y="2"/>
                    </a:cubicBezTo>
                    <a:cubicBezTo>
                      <a:pt x="116" y="0"/>
                      <a:pt x="114" y="0"/>
                      <a:pt x="112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3" y="0"/>
                      <a:pt x="0" y="3"/>
                      <a:pt x="0" y="8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36"/>
                      <a:pt x="3" y="240"/>
                      <a:pt x="8" y="240"/>
                    </a:cubicBezTo>
                    <a:cubicBezTo>
                      <a:pt x="168" y="240"/>
                      <a:pt x="168" y="240"/>
                      <a:pt x="168" y="240"/>
                    </a:cubicBezTo>
                    <a:cubicBezTo>
                      <a:pt x="172" y="240"/>
                      <a:pt x="176" y="236"/>
                      <a:pt x="176" y="232"/>
                    </a:cubicBezTo>
                    <a:cubicBezTo>
                      <a:pt x="176" y="64"/>
                      <a:pt x="176" y="64"/>
                      <a:pt x="176" y="64"/>
                    </a:cubicBezTo>
                    <a:cubicBezTo>
                      <a:pt x="176" y="64"/>
                      <a:pt x="176" y="64"/>
                      <a:pt x="176" y="64"/>
                    </a:cubicBezTo>
                    <a:cubicBezTo>
                      <a:pt x="176" y="63"/>
                      <a:pt x="175" y="62"/>
                      <a:pt x="175" y="61"/>
                    </a:cubicBezTo>
                    <a:close/>
                    <a:moveTo>
                      <a:pt x="120" y="27"/>
                    </a:moveTo>
                    <a:cubicBezTo>
                      <a:pt x="148" y="56"/>
                      <a:pt x="148" y="56"/>
                      <a:pt x="148" y="56"/>
                    </a:cubicBezTo>
                    <a:cubicBezTo>
                      <a:pt x="120" y="56"/>
                      <a:pt x="120" y="56"/>
                      <a:pt x="120" y="56"/>
                    </a:cubicBezTo>
                    <a:lnTo>
                      <a:pt x="120" y="27"/>
                    </a:lnTo>
                    <a:close/>
                    <a:moveTo>
                      <a:pt x="160" y="224"/>
                    </a:moveTo>
                    <a:cubicBezTo>
                      <a:pt x="16" y="224"/>
                      <a:pt x="16" y="224"/>
                      <a:pt x="16" y="224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04" y="16"/>
                      <a:pt x="104" y="16"/>
                      <a:pt x="104" y="16"/>
                    </a:cubicBezTo>
                    <a:cubicBezTo>
                      <a:pt x="104" y="64"/>
                      <a:pt x="104" y="64"/>
                      <a:pt x="104" y="64"/>
                    </a:cubicBezTo>
                    <a:cubicBezTo>
                      <a:pt x="104" y="68"/>
                      <a:pt x="107" y="72"/>
                      <a:pt x="112" y="72"/>
                    </a:cubicBezTo>
                    <a:cubicBezTo>
                      <a:pt x="160" y="72"/>
                      <a:pt x="160" y="72"/>
                      <a:pt x="160" y="72"/>
                    </a:cubicBezTo>
                    <a:lnTo>
                      <a:pt x="160" y="22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CA9106A3-A465-4340-9590-A13261B2E3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888" y="4024313"/>
                <a:ext cx="542925" cy="727075"/>
              </a:xfrm>
              <a:custGeom>
                <a:avLst/>
                <a:gdLst>
                  <a:gd name="T0" fmla="*/ 2 w 66"/>
                  <a:gd name="T1" fmla="*/ 76 h 89"/>
                  <a:gd name="T2" fmla="*/ 4 w 66"/>
                  <a:gd name="T3" fmla="*/ 87 h 89"/>
                  <a:gd name="T4" fmla="*/ 9 w 66"/>
                  <a:gd name="T5" fmla="*/ 89 h 89"/>
                  <a:gd name="T6" fmla="*/ 15 w 66"/>
                  <a:gd name="T7" fmla="*/ 85 h 89"/>
                  <a:gd name="T8" fmla="*/ 63 w 66"/>
                  <a:gd name="T9" fmla="*/ 13 h 89"/>
                  <a:gd name="T10" fmla="*/ 61 w 66"/>
                  <a:gd name="T11" fmla="*/ 2 h 89"/>
                  <a:gd name="T12" fmla="*/ 50 w 66"/>
                  <a:gd name="T13" fmla="*/ 4 h 89"/>
                  <a:gd name="T14" fmla="*/ 2 w 66"/>
                  <a:gd name="T15" fmla="*/ 76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89">
                    <a:moveTo>
                      <a:pt x="2" y="76"/>
                    </a:moveTo>
                    <a:cubicBezTo>
                      <a:pt x="0" y="80"/>
                      <a:pt x="1" y="85"/>
                      <a:pt x="4" y="87"/>
                    </a:cubicBezTo>
                    <a:cubicBezTo>
                      <a:pt x="6" y="88"/>
                      <a:pt x="7" y="89"/>
                      <a:pt x="9" y="89"/>
                    </a:cubicBezTo>
                    <a:cubicBezTo>
                      <a:pt x="11" y="89"/>
                      <a:pt x="14" y="87"/>
                      <a:pt x="15" y="85"/>
                    </a:cubicBezTo>
                    <a:cubicBezTo>
                      <a:pt x="63" y="13"/>
                      <a:pt x="63" y="13"/>
                      <a:pt x="63" y="13"/>
                    </a:cubicBezTo>
                    <a:cubicBezTo>
                      <a:pt x="66" y="9"/>
                      <a:pt x="65" y="4"/>
                      <a:pt x="61" y="2"/>
                    </a:cubicBezTo>
                    <a:cubicBezTo>
                      <a:pt x="57" y="0"/>
                      <a:pt x="52" y="1"/>
                      <a:pt x="50" y="4"/>
                    </a:cubicBezTo>
                    <a:lnTo>
                      <a:pt x="2" y="7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E25FC823-B260-423D-B1D9-3819685057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6976" y="3957638"/>
                <a:ext cx="336550" cy="401638"/>
              </a:xfrm>
              <a:custGeom>
                <a:avLst/>
                <a:gdLst>
                  <a:gd name="T0" fmla="*/ 32 w 41"/>
                  <a:gd name="T1" fmla="*/ 49 h 49"/>
                  <a:gd name="T2" fmla="*/ 38 w 41"/>
                  <a:gd name="T3" fmla="*/ 45 h 49"/>
                  <a:gd name="T4" fmla="*/ 36 w 41"/>
                  <a:gd name="T5" fmla="*/ 34 h 49"/>
                  <a:gd name="T6" fmla="*/ 22 w 41"/>
                  <a:gd name="T7" fmla="*/ 25 h 49"/>
                  <a:gd name="T8" fmla="*/ 36 w 41"/>
                  <a:gd name="T9" fmla="*/ 15 h 49"/>
                  <a:gd name="T10" fmla="*/ 38 w 41"/>
                  <a:gd name="T11" fmla="*/ 4 h 49"/>
                  <a:gd name="T12" fmla="*/ 27 w 41"/>
                  <a:gd name="T13" fmla="*/ 2 h 49"/>
                  <a:gd name="T14" fmla="*/ 3 w 41"/>
                  <a:gd name="T15" fmla="*/ 18 h 49"/>
                  <a:gd name="T16" fmla="*/ 0 w 41"/>
                  <a:gd name="T17" fmla="*/ 25 h 49"/>
                  <a:gd name="T18" fmla="*/ 3 w 41"/>
                  <a:gd name="T19" fmla="*/ 31 h 49"/>
                  <a:gd name="T20" fmla="*/ 27 w 41"/>
                  <a:gd name="T21" fmla="*/ 47 h 49"/>
                  <a:gd name="T22" fmla="*/ 32 w 41"/>
                  <a:gd name="T2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49">
                    <a:moveTo>
                      <a:pt x="32" y="49"/>
                    </a:moveTo>
                    <a:cubicBezTo>
                      <a:pt x="34" y="49"/>
                      <a:pt x="37" y="47"/>
                      <a:pt x="38" y="45"/>
                    </a:cubicBezTo>
                    <a:cubicBezTo>
                      <a:pt x="41" y="41"/>
                      <a:pt x="40" y="36"/>
                      <a:pt x="36" y="34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36" y="15"/>
                      <a:pt x="36" y="15"/>
                      <a:pt x="36" y="15"/>
                    </a:cubicBezTo>
                    <a:cubicBezTo>
                      <a:pt x="40" y="13"/>
                      <a:pt x="41" y="8"/>
                      <a:pt x="38" y="4"/>
                    </a:cubicBezTo>
                    <a:cubicBezTo>
                      <a:pt x="36" y="1"/>
                      <a:pt x="31" y="0"/>
                      <a:pt x="27" y="2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1" y="19"/>
                      <a:pt x="0" y="22"/>
                      <a:pt x="0" y="25"/>
                    </a:cubicBezTo>
                    <a:cubicBezTo>
                      <a:pt x="0" y="27"/>
                      <a:pt x="1" y="30"/>
                      <a:pt x="3" y="31"/>
                    </a:cubicBezTo>
                    <a:cubicBezTo>
                      <a:pt x="27" y="47"/>
                      <a:pt x="27" y="47"/>
                      <a:pt x="27" y="47"/>
                    </a:cubicBezTo>
                    <a:cubicBezTo>
                      <a:pt x="29" y="48"/>
                      <a:pt x="30" y="49"/>
                      <a:pt x="32" y="4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A2FBC820-B63A-41E6-B0D9-B10BE13610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1177" y="4416426"/>
                <a:ext cx="336549" cy="401638"/>
              </a:xfrm>
              <a:custGeom>
                <a:avLst/>
                <a:gdLst>
                  <a:gd name="T0" fmla="*/ 2 w 41"/>
                  <a:gd name="T1" fmla="*/ 4 h 49"/>
                  <a:gd name="T2" fmla="*/ 4 w 41"/>
                  <a:gd name="T3" fmla="*/ 15 h 49"/>
                  <a:gd name="T4" fmla="*/ 18 w 41"/>
                  <a:gd name="T5" fmla="*/ 25 h 49"/>
                  <a:gd name="T6" fmla="*/ 4 w 41"/>
                  <a:gd name="T7" fmla="*/ 34 h 49"/>
                  <a:gd name="T8" fmla="*/ 2 w 41"/>
                  <a:gd name="T9" fmla="*/ 45 h 49"/>
                  <a:gd name="T10" fmla="*/ 9 w 41"/>
                  <a:gd name="T11" fmla="*/ 49 h 49"/>
                  <a:gd name="T12" fmla="*/ 13 w 41"/>
                  <a:gd name="T13" fmla="*/ 47 h 49"/>
                  <a:gd name="T14" fmla="*/ 37 w 41"/>
                  <a:gd name="T15" fmla="*/ 31 h 49"/>
                  <a:gd name="T16" fmla="*/ 41 w 41"/>
                  <a:gd name="T17" fmla="*/ 25 h 49"/>
                  <a:gd name="T18" fmla="*/ 37 w 41"/>
                  <a:gd name="T19" fmla="*/ 18 h 49"/>
                  <a:gd name="T20" fmla="*/ 13 w 41"/>
                  <a:gd name="T21" fmla="*/ 2 h 49"/>
                  <a:gd name="T22" fmla="*/ 2 w 41"/>
                  <a:gd name="T23" fmla="*/ 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49">
                    <a:moveTo>
                      <a:pt x="2" y="4"/>
                    </a:moveTo>
                    <a:cubicBezTo>
                      <a:pt x="0" y="8"/>
                      <a:pt x="1" y="13"/>
                      <a:pt x="4" y="15"/>
                    </a:cubicBezTo>
                    <a:cubicBezTo>
                      <a:pt x="18" y="25"/>
                      <a:pt x="18" y="25"/>
                      <a:pt x="18" y="25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1" y="36"/>
                      <a:pt x="0" y="41"/>
                      <a:pt x="2" y="45"/>
                    </a:cubicBezTo>
                    <a:cubicBezTo>
                      <a:pt x="4" y="47"/>
                      <a:pt x="6" y="49"/>
                      <a:pt x="9" y="49"/>
                    </a:cubicBezTo>
                    <a:cubicBezTo>
                      <a:pt x="10" y="49"/>
                      <a:pt x="12" y="48"/>
                      <a:pt x="13" y="47"/>
                    </a:cubicBezTo>
                    <a:cubicBezTo>
                      <a:pt x="37" y="31"/>
                      <a:pt x="37" y="31"/>
                      <a:pt x="37" y="31"/>
                    </a:cubicBezTo>
                    <a:cubicBezTo>
                      <a:pt x="39" y="30"/>
                      <a:pt x="41" y="27"/>
                      <a:pt x="41" y="25"/>
                    </a:cubicBezTo>
                    <a:cubicBezTo>
                      <a:pt x="41" y="22"/>
                      <a:pt x="39" y="19"/>
                      <a:pt x="37" y="18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9" y="0"/>
                      <a:pt x="4" y="1"/>
                      <a:pt x="2" y="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DDACACB5-378C-44DD-AE39-DB9E17D3AD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7788" y="2657475"/>
                <a:ext cx="3159125" cy="3141663"/>
              </a:xfrm>
              <a:custGeom>
                <a:avLst/>
                <a:gdLst>
                  <a:gd name="T0" fmla="*/ 192 w 384"/>
                  <a:gd name="T1" fmla="*/ 16 h 384"/>
                  <a:gd name="T2" fmla="*/ 368 w 384"/>
                  <a:gd name="T3" fmla="*/ 192 h 384"/>
                  <a:gd name="T4" fmla="*/ 192 w 384"/>
                  <a:gd name="T5" fmla="*/ 368 h 384"/>
                  <a:gd name="T6" fmla="*/ 16 w 384"/>
                  <a:gd name="T7" fmla="*/ 192 h 384"/>
                  <a:gd name="T8" fmla="*/ 192 w 384"/>
                  <a:gd name="T9" fmla="*/ 16 h 384"/>
                  <a:gd name="T10" fmla="*/ 192 w 384"/>
                  <a:gd name="T11" fmla="*/ 0 h 384"/>
                  <a:gd name="T12" fmla="*/ 0 w 384"/>
                  <a:gd name="T13" fmla="*/ 192 h 384"/>
                  <a:gd name="T14" fmla="*/ 192 w 384"/>
                  <a:gd name="T15" fmla="*/ 384 h 384"/>
                  <a:gd name="T16" fmla="*/ 384 w 384"/>
                  <a:gd name="T17" fmla="*/ 192 h 384"/>
                  <a:gd name="T18" fmla="*/ 192 w 384"/>
                  <a:gd name="T19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4" h="384">
                    <a:moveTo>
                      <a:pt x="192" y="16"/>
                    </a:moveTo>
                    <a:cubicBezTo>
                      <a:pt x="289" y="16"/>
                      <a:pt x="368" y="95"/>
                      <a:pt x="368" y="192"/>
                    </a:cubicBezTo>
                    <a:cubicBezTo>
                      <a:pt x="368" y="289"/>
                      <a:pt x="289" y="368"/>
                      <a:pt x="192" y="368"/>
                    </a:cubicBezTo>
                    <a:cubicBezTo>
                      <a:pt x="95" y="368"/>
                      <a:pt x="16" y="289"/>
                      <a:pt x="16" y="192"/>
                    </a:cubicBezTo>
                    <a:cubicBezTo>
                      <a:pt x="16" y="95"/>
                      <a:pt x="95" y="16"/>
                      <a:pt x="192" y="16"/>
                    </a:cubicBezTo>
                    <a:moveTo>
                      <a:pt x="192" y="0"/>
                    </a:moveTo>
                    <a:cubicBezTo>
                      <a:pt x="86" y="0"/>
                      <a:pt x="0" y="86"/>
                      <a:pt x="0" y="192"/>
                    </a:cubicBezTo>
                    <a:cubicBezTo>
                      <a:pt x="0" y="298"/>
                      <a:pt x="86" y="384"/>
                      <a:pt x="192" y="384"/>
                    </a:cubicBezTo>
                    <a:cubicBezTo>
                      <a:pt x="298" y="384"/>
                      <a:pt x="384" y="298"/>
                      <a:pt x="384" y="192"/>
                    </a:cubicBezTo>
                    <a:cubicBezTo>
                      <a:pt x="384" y="86"/>
                      <a:pt x="298" y="0"/>
                      <a:pt x="19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8A0B52D-A2AC-4B7B-BBDD-8EFE2075B495}"/>
                </a:ext>
              </a:extLst>
            </p:cNvPr>
            <p:cNvSpPr txBox="1"/>
            <p:nvPr/>
          </p:nvSpPr>
          <p:spPr>
            <a:xfrm>
              <a:off x="-43673" y="3049159"/>
              <a:ext cx="256892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pt-BR" sz="1400" b="1" dirty="0">
                  <a:solidFill>
                    <a:srgbClr val="31313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ase Births.csv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3FDCB4A5-54F8-4C3C-AB78-B19F3DDAF984}"/>
              </a:ext>
            </a:extLst>
          </p:cNvPr>
          <p:cNvSpPr/>
          <p:nvPr/>
        </p:nvSpPr>
        <p:spPr bwMode="gray">
          <a:xfrm>
            <a:off x="695870" y="3264490"/>
            <a:ext cx="3218213" cy="1489624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37318F8-11A0-4DC3-A456-8B9DD3FF8822}"/>
              </a:ext>
            </a:extLst>
          </p:cNvPr>
          <p:cNvSpPr/>
          <p:nvPr/>
        </p:nvSpPr>
        <p:spPr bwMode="gray">
          <a:xfrm>
            <a:off x="4548114" y="3264490"/>
            <a:ext cx="3218213" cy="1489624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020851-3915-4353-A2EC-3BE58B015D89}"/>
              </a:ext>
            </a:extLst>
          </p:cNvPr>
          <p:cNvSpPr txBox="1"/>
          <p:nvPr/>
        </p:nvSpPr>
        <p:spPr>
          <a:xfrm>
            <a:off x="6606581" y="3763080"/>
            <a:ext cx="87487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pt-BR" sz="20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WER BI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5F92286-E8CB-42A7-8688-D3C224FFE0F2}"/>
              </a:ext>
            </a:extLst>
          </p:cNvPr>
          <p:cNvSpPr txBox="1"/>
          <p:nvPr/>
        </p:nvSpPr>
        <p:spPr>
          <a:xfrm>
            <a:off x="4749626" y="3853364"/>
            <a:ext cx="8748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pt-BR" sz="20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QL</a:t>
            </a:r>
          </a:p>
        </p:txBody>
      </p:sp>
      <p:sp>
        <p:nvSpPr>
          <p:cNvPr id="14" name="Plus Sign 13">
            <a:extLst>
              <a:ext uri="{FF2B5EF4-FFF2-40B4-BE49-F238E27FC236}">
                <a16:creationId xmlns:a16="http://schemas.microsoft.com/office/drawing/2014/main" id="{89BDCE3D-7CFA-406C-9747-F0AB83991EE3}"/>
              </a:ext>
            </a:extLst>
          </p:cNvPr>
          <p:cNvSpPr/>
          <p:nvPr/>
        </p:nvSpPr>
        <p:spPr bwMode="gray">
          <a:xfrm>
            <a:off x="5890271" y="3784785"/>
            <a:ext cx="423496" cy="449033"/>
          </a:xfrm>
          <a:prstGeom prst="mathPlus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B841930-8F49-431C-B29F-C0A1653C08F5}"/>
              </a:ext>
            </a:extLst>
          </p:cNvPr>
          <p:cNvSpPr/>
          <p:nvPr/>
        </p:nvSpPr>
        <p:spPr bwMode="gray">
          <a:xfrm>
            <a:off x="8402801" y="3264489"/>
            <a:ext cx="3218213" cy="1489624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grpSp>
        <p:nvGrpSpPr>
          <p:cNvPr id="29" name="Group 262">
            <a:extLst>
              <a:ext uri="{FF2B5EF4-FFF2-40B4-BE49-F238E27FC236}">
                <a16:creationId xmlns:a16="http://schemas.microsoft.com/office/drawing/2014/main" id="{60A109A8-2B63-44FD-80F3-7E8E586672D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476922" y="3475337"/>
            <a:ext cx="795600" cy="795600"/>
            <a:chOff x="5792" y="779"/>
            <a:chExt cx="340" cy="340"/>
          </a:xfrm>
          <a:solidFill>
            <a:schemeClr val="accent1"/>
          </a:solidFill>
        </p:grpSpPr>
        <p:sp>
          <p:nvSpPr>
            <p:cNvPr id="30" name="Freeform 263">
              <a:extLst>
                <a:ext uri="{FF2B5EF4-FFF2-40B4-BE49-F238E27FC236}">
                  <a16:creationId xmlns:a16="http://schemas.microsoft.com/office/drawing/2014/main" id="{400F3379-B679-4DD3-A1E3-1572DAB42E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70" y="843"/>
              <a:ext cx="184" cy="212"/>
            </a:xfrm>
            <a:custGeom>
              <a:avLst/>
              <a:gdLst>
                <a:gd name="T0" fmla="*/ 267 w 277"/>
                <a:gd name="T1" fmla="*/ 128 h 320"/>
                <a:gd name="T2" fmla="*/ 149 w 277"/>
                <a:gd name="T3" fmla="*/ 128 h 320"/>
                <a:gd name="T4" fmla="*/ 149 w 277"/>
                <a:gd name="T5" fmla="*/ 106 h 320"/>
                <a:gd name="T6" fmla="*/ 224 w 277"/>
                <a:gd name="T7" fmla="*/ 106 h 320"/>
                <a:gd name="T8" fmla="*/ 230 w 277"/>
                <a:gd name="T9" fmla="*/ 104 h 320"/>
                <a:gd name="T10" fmla="*/ 273 w 277"/>
                <a:gd name="T11" fmla="*/ 72 h 320"/>
                <a:gd name="T12" fmla="*/ 277 w 277"/>
                <a:gd name="T13" fmla="*/ 64 h 320"/>
                <a:gd name="T14" fmla="*/ 273 w 277"/>
                <a:gd name="T15" fmla="*/ 55 h 320"/>
                <a:gd name="T16" fmla="*/ 230 w 277"/>
                <a:gd name="T17" fmla="*/ 23 h 320"/>
                <a:gd name="T18" fmla="*/ 224 w 277"/>
                <a:gd name="T19" fmla="*/ 21 h 320"/>
                <a:gd name="T20" fmla="*/ 149 w 277"/>
                <a:gd name="T21" fmla="*/ 21 h 320"/>
                <a:gd name="T22" fmla="*/ 149 w 277"/>
                <a:gd name="T23" fmla="*/ 10 h 320"/>
                <a:gd name="T24" fmla="*/ 139 w 277"/>
                <a:gd name="T25" fmla="*/ 0 h 320"/>
                <a:gd name="T26" fmla="*/ 128 w 277"/>
                <a:gd name="T27" fmla="*/ 10 h 320"/>
                <a:gd name="T28" fmla="*/ 128 w 277"/>
                <a:gd name="T29" fmla="*/ 21 h 320"/>
                <a:gd name="T30" fmla="*/ 11 w 277"/>
                <a:gd name="T31" fmla="*/ 21 h 320"/>
                <a:gd name="T32" fmla="*/ 0 w 277"/>
                <a:gd name="T33" fmla="*/ 32 h 320"/>
                <a:gd name="T34" fmla="*/ 0 w 277"/>
                <a:gd name="T35" fmla="*/ 96 h 320"/>
                <a:gd name="T36" fmla="*/ 11 w 277"/>
                <a:gd name="T37" fmla="*/ 106 h 320"/>
                <a:gd name="T38" fmla="*/ 128 w 277"/>
                <a:gd name="T39" fmla="*/ 106 h 320"/>
                <a:gd name="T40" fmla="*/ 128 w 277"/>
                <a:gd name="T41" fmla="*/ 128 h 320"/>
                <a:gd name="T42" fmla="*/ 53 w 277"/>
                <a:gd name="T43" fmla="*/ 128 h 320"/>
                <a:gd name="T44" fmla="*/ 47 w 277"/>
                <a:gd name="T45" fmla="*/ 130 h 320"/>
                <a:gd name="T46" fmla="*/ 4 w 277"/>
                <a:gd name="T47" fmla="*/ 162 h 320"/>
                <a:gd name="T48" fmla="*/ 0 w 277"/>
                <a:gd name="T49" fmla="*/ 170 h 320"/>
                <a:gd name="T50" fmla="*/ 4 w 277"/>
                <a:gd name="T51" fmla="*/ 179 h 320"/>
                <a:gd name="T52" fmla="*/ 47 w 277"/>
                <a:gd name="T53" fmla="*/ 211 h 320"/>
                <a:gd name="T54" fmla="*/ 53 w 277"/>
                <a:gd name="T55" fmla="*/ 213 h 320"/>
                <a:gd name="T56" fmla="*/ 128 w 277"/>
                <a:gd name="T57" fmla="*/ 213 h 320"/>
                <a:gd name="T58" fmla="*/ 128 w 277"/>
                <a:gd name="T59" fmla="*/ 309 h 320"/>
                <a:gd name="T60" fmla="*/ 139 w 277"/>
                <a:gd name="T61" fmla="*/ 320 h 320"/>
                <a:gd name="T62" fmla="*/ 149 w 277"/>
                <a:gd name="T63" fmla="*/ 309 h 320"/>
                <a:gd name="T64" fmla="*/ 149 w 277"/>
                <a:gd name="T65" fmla="*/ 213 h 320"/>
                <a:gd name="T66" fmla="*/ 267 w 277"/>
                <a:gd name="T67" fmla="*/ 213 h 320"/>
                <a:gd name="T68" fmla="*/ 277 w 277"/>
                <a:gd name="T69" fmla="*/ 202 h 320"/>
                <a:gd name="T70" fmla="*/ 277 w 277"/>
                <a:gd name="T71" fmla="*/ 138 h 320"/>
                <a:gd name="T72" fmla="*/ 267 w 277"/>
                <a:gd name="T73" fmla="*/ 128 h 320"/>
                <a:gd name="T74" fmla="*/ 21 w 277"/>
                <a:gd name="T75" fmla="*/ 85 h 320"/>
                <a:gd name="T76" fmla="*/ 21 w 277"/>
                <a:gd name="T77" fmla="*/ 42 h 320"/>
                <a:gd name="T78" fmla="*/ 220 w 277"/>
                <a:gd name="T79" fmla="*/ 42 h 320"/>
                <a:gd name="T80" fmla="*/ 249 w 277"/>
                <a:gd name="T81" fmla="*/ 64 h 320"/>
                <a:gd name="T82" fmla="*/ 220 w 277"/>
                <a:gd name="T83" fmla="*/ 85 h 320"/>
                <a:gd name="T84" fmla="*/ 21 w 277"/>
                <a:gd name="T85" fmla="*/ 85 h 320"/>
                <a:gd name="T86" fmla="*/ 256 w 277"/>
                <a:gd name="T87" fmla="*/ 192 h 320"/>
                <a:gd name="T88" fmla="*/ 57 w 277"/>
                <a:gd name="T89" fmla="*/ 192 h 320"/>
                <a:gd name="T90" fmla="*/ 28 w 277"/>
                <a:gd name="T91" fmla="*/ 170 h 320"/>
                <a:gd name="T92" fmla="*/ 57 w 277"/>
                <a:gd name="T93" fmla="*/ 149 h 320"/>
                <a:gd name="T94" fmla="*/ 256 w 277"/>
                <a:gd name="T95" fmla="*/ 149 h 320"/>
                <a:gd name="T96" fmla="*/ 256 w 277"/>
                <a:gd name="T97" fmla="*/ 19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7" h="320">
                  <a:moveTo>
                    <a:pt x="267" y="128"/>
                  </a:moveTo>
                  <a:cubicBezTo>
                    <a:pt x="149" y="128"/>
                    <a:pt x="149" y="128"/>
                    <a:pt x="149" y="128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224" y="106"/>
                    <a:pt x="224" y="106"/>
                    <a:pt x="224" y="106"/>
                  </a:cubicBezTo>
                  <a:cubicBezTo>
                    <a:pt x="226" y="106"/>
                    <a:pt x="229" y="106"/>
                    <a:pt x="230" y="104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276" y="70"/>
                    <a:pt x="277" y="67"/>
                    <a:pt x="277" y="64"/>
                  </a:cubicBezTo>
                  <a:cubicBezTo>
                    <a:pt x="277" y="60"/>
                    <a:pt x="276" y="57"/>
                    <a:pt x="273" y="55"/>
                  </a:cubicBezTo>
                  <a:cubicBezTo>
                    <a:pt x="230" y="23"/>
                    <a:pt x="230" y="23"/>
                    <a:pt x="230" y="23"/>
                  </a:cubicBezTo>
                  <a:cubicBezTo>
                    <a:pt x="229" y="22"/>
                    <a:pt x="226" y="21"/>
                    <a:pt x="224" y="21"/>
                  </a:cubicBezTo>
                  <a:cubicBezTo>
                    <a:pt x="149" y="21"/>
                    <a:pt x="149" y="21"/>
                    <a:pt x="149" y="21"/>
                  </a:cubicBezTo>
                  <a:cubicBezTo>
                    <a:pt x="149" y="10"/>
                    <a:pt x="149" y="10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ubicBezTo>
                    <a:pt x="133" y="0"/>
                    <a:pt x="128" y="4"/>
                    <a:pt x="128" y="10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5" y="21"/>
                    <a:pt x="0" y="26"/>
                    <a:pt x="0" y="3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5" y="106"/>
                    <a:pt x="11" y="106"/>
                  </a:cubicBezTo>
                  <a:cubicBezTo>
                    <a:pt x="128" y="106"/>
                    <a:pt x="128" y="106"/>
                    <a:pt x="128" y="106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1" y="128"/>
                    <a:pt x="49" y="128"/>
                    <a:pt x="47" y="130"/>
                  </a:cubicBezTo>
                  <a:cubicBezTo>
                    <a:pt x="4" y="162"/>
                    <a:pt x="4" y="162"/>
                    <a:pt x="4" y="162"/>
                  </a:cubicBezTo>
                  <a:cubicBezTo>
                    <a:pt x="2" y="164"/>
                    <a:pt x="0" y="167"/>
                    <a:pt x="0" y="170"/>
                  </a:cubicBezTo>
                  <a:cubicBezTo>
                    <a:pt x="0" y="174"/>
                    <a:pt x="2" y="177"/>
                    <a:pt x="4" y="179"/>
                  </a:cubicBezTo>
                  <a:cubicBezTo>
                    <a:pt x="47" y="211"/>
                    <a:pt x="47" y="211"/>
                    <a:pt x="47" y="211"/>
                  </a:cubicBezTo>
                  <a:cubicBezTo>
                    <a:pt x="49" y="212"/>
                    <a:pt x="51" y="213"/>
                    <a:pt x="53" y="213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28" y="309"/>
                    <a:pt x="128" y="309"/>
                    <a:pt x="128" y="309"/>
                  </a:cubicBezTo>
                  <a:cubicBezTo>
                    <a:pt x="128" y="315"/>
                    <a:pt x="133" y="320"/>
                    <a:pt x="139" y="320"/>
                  </a:cubicBezTo>
                  <a:cubicBezTo>
                    <a:pt x="145" y="320"/>
                    <a:pt x="149" y="315"/>
                    <a:pt x="149" y="309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267" y="213"/>
                    <a:pt x="267" y="213"/>
                    <a:pt x="267" y="213"/>
                  </a:cubicBezTo>
                  <a:cubicBezTo>
                    <a:pt x="273" y="213"/>
                    <a:pt x="277" y="208"/>
                    <a:pt x="277" y="202"/>
                  </a:cubicBezTo>
                  <a:cubicBezTo>
                    <a:pt x="277" y="138"/>
                    <a:pt x="277" y="138"/>
                    <a:pt x="277" y="138"/>
                  </a:cubicBezTo>
                  <a:cubicBezTo>
                    <a:pt x="277" y="132"/>
                    <a:pt x="273" y="128"/>
                    <a:pt x="267" y="128"/>
                  </a:cubicBezTo>
                  <a:close/>
                  <a:moveTo>
                    <a:pt x="21" y="85"/>
                  </a:moveTo>
                  <a:cubicBezTo>
                    <a:pt x="21" y="42"/>
                    <a:pt x="21" y="42"/>
                    <a:pt x="21" y="42"/>
                  </a:cubicBezTo>
                  <a:cubicBezTo>
                    <a:pt x="220" y="42"/>
                    <a:pt x="220" y="42"/>
                    <a:pt x="220" y="42"/>
                  </a:cubicBezTo>
                  <a:cubicBezTo>
                    <a:pt x="249" y="64"/>
                    <a:pt x="249" y="64"/>
                    <a:pt x="249" y="64"/>
                  </a:cubicBezTo>
                  <a:cubicBezTo>
                    <a:pt x="220" y="85"/>
                    <a:pt x="220" y="85"/>
                    <a:pt x="220" y="85"/>
                  </a:cubicBezTo>
                  <a:lnTo>
                    <a:pt x="21" y="85"/>
                  </a:lnTo>
                  <a:close/>
                  <a:moveTo>
                    <a:pt x="256" y="192"/>
                  </a:moveTo>
                  <a:cubicBezTo>
                    <a:pt x="57" y="192"/>
                    <a:pt x="57" y="192"/>
                    <a:pt x="57" y="192"/>
                  </a:cubicBezTo>
                  <a:cubicBezTo>
                    <a:pt x="28" y="170"/>
                    <a:pt x="28" y="170"/>
                    <a:pt x="28" y="170"/>
                  </a:cubicBezTo>
                  <a:cubicBezTo>
                    <a:pt x="57" y="149"/>
                    <a:pt x="57" y="149"/>
                    <a:pt x="57" y="149"/>
                  </a:cubicBezTo>
                  <a:cubicBezTo>
                    <a:pt x="256" y="149"/>
                    <a:pt x="256" y="149"/>
                    <a:pt x="256" y="149"/>
                  </a:cubicBezTo>
                  <a:lnTo>
                    <a:pt x="256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64">
              <a:extLst>
                <a:ext uri="{FF2B5EF4-FFF2-40B4-BE49-F238E27FC236}">
                  <a16:creationId xmlns:a16="http://schemas.microsoft.com/office/drawing/2014/main" id="{2CA2397F-5991-4187-AFAF-9DB6166E95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2" y="77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2" name="Freeform 430">
            <a:extLst>
              <a:ext uri="{FF2B5EF4-FFF2-40B4-BE49-F238E27FC236}">
                <a16:creationId xmlns:a16="http://schemas.microsoft.com/office/drawing/2014/main" id="{D18A6F95-3246-42CC-AA2D-2713806B121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861503" y="3479896"/>
            <a:ext cx="795600" cy="795600"/>
          </a:xfrm>
          <a:custGeom>
            <a:avLst/>
            <a:gdLst>
              <a:gd name="T0" fmla="*/ 235 w 512"/>
              <a:gd name="T1" fmla="*/ 139 h 512"/>
              <a:gd name="T2" fmla="*/ 256 w 512"/>
              <a:gd name="T3" fmla="*/ 118 h 512"/>
              <a:gd name="T4" fmla="*/ 277 w 512"/>
              <a:gd name="T5" fmla="*/ 139 h 512"/>
              <a:gd name="T6" fmla="*/ 256 w 512"/>
              <a:gd name="T7" fmla="*/ 160 h 512"/>
              <a:gd name="T8" fmla="*/ 235 w 512"/>
              <a:gd name="T9" fmla="*/ 139 h 512"/>
              <a:gd name="T10" fmla="*/ 267 w 512"/>
              <a:gd name="T11" fmla="*/ 363 h 512"/>
              <a:gd name="T12" fmla="*/ 267 w 512"/>
              <a:gd name="T13" fmla="*/ 224 h 512"/>
              <a:gd name="T14" fmla="*/ 213 w 512"/>
              <a:gd name="T15" fmla="*/ 224 h 512"/>
              <a:gd name="T16" fmla="*/ 213 w 512"/>
              <a:gd name="T17" fmla="*/ 246 h 512"/>
              <a:gd name="T18" fmla="*/ 235 w 512"/>
              <a:gd name="T19" fmla="*/ 246 h 512"/>
              <a:gd name="T20" fmla="*/ 245 w 512"/>
              <a:gd name="T21" fmla="*/ 256 h 512"/>
              <a:gd name="T22" fmla="*/ 245 w 512"/>
              <a:gd name="T23" fmla="*/ 363 h 512"/>
              <a:gd name="T24" fmla="*/ 235 w 512"/>
              <a:gd name="T25" fmla="*/ 374 h 512"/>
              <a:gd name="T26" fmla="*/ 203 w 512"/>
              <a:gd name="T27" fmla="*/ 374 h 512"/>
              <a:gd name="T28" fmla="*/ 203 w 512"/>
              <a:gd name="T29" fmla="*/ 395 h 512"/>
              <a:gd name="T30" fmla="*/ 309 w 512"/>
              <a:gd name="T31" fmla="*/ 395 h 512"/>
              <a:gd name="T32" fmla="*/ 309 w 512"/>
              <a:gd name="T33" fmla="*/ 374 h 512"/>
              <a:gd name="T34" fmla="*/ 277 w 512"/>
              <a:gd name="T35" fmla="*/ 374 h 512"/>
              <a:gd name="T36" fmla="*/ 267 w 512"/>
              <a:gd name="T37" fmla="*/ 363 h 512"/>
              <a:gd name="T38" fmla="*/ 512 w 512"/>
              <a:gd name="T39" fmla="*/ 256 h 512"/>
              <a:gd name="T40" fmla="*/ 256 w 512"/>
              <a:gd name="T41" fmla="*/ 512 h 512"/>
              <a:gd name="T42" fmla="*/ 0 w 512"/>
              <a:gd name="T43" fmla="*/ 256 h 512"/>
              <a:gd name="T44" fmla="*/ 256 w 512"/>
              <a:gd name="T45" fmla="*/ 0 h 512"/>
              <a:gd name="T46" fmla="*/ 512 w 512"/>
              <a:gd name="T47" fmla="*/ 256 h 512"/>
              <a:gd name="T48" fmla="*/ 213 w 512"/>
              <a:gd name="T49" fmla="*/ 139 h 512"/>
              <a:gd name="T50" fmla="*/ 256 w 512"/>
              <a:gd name="T51" fmla="*/ 182 h 512"/>
              <a:gd name="T52" fmla="*/ 299 w 512"/>
              <a:gd name="T53" fmla="*/ 139 h 512"/>
              <a:gd name="T54" fmla="*/ 256 w 512"/>
              <a:gd name="T55" fmla="*/ 96 h 512"/>
              <a:gd name="T56" fmla="*/ 213 w 512"/>
              <a:gd name="T57" fmla="*/ 139 h 512"/>
              <a:gd name="T58" fmla="*/ 331 w 512"/>
              <a:gd name="T59" fmla="*/ 363 h 512"/>
              <a:gd name="T60" fmla="*/ 320 w 512"/>
              <a:gd name="T61" fmla="*/ 352 h 512"/>
              <a:gd name="T62" fmla="*/ 288 w 512"/>
              <a:gd name="T63" fmla="*/ 352 h 512"/>
              <a:gd name="T64" fmla="*/ 288 w 512"/>
              <a:gd name="T65" fmla="*/ 214 h 512"/>
              <a:gd name="T66" fmla="*/ 277 w 512"/>
              <a:gd name="T67" fmla="*/ 203 h 512"/>
              <a:gd name="T68" fmla="*/ 203 w 512"/>
              <a:gd name="T69" fmla="*/ 203 h 512"/>
              <a:gd name="T70" fmla="*/ 192 w 512"/>
              <a:gd name="T71" fmla="*/ 214 h 512"/>
              <a:gd name="T72" fmla="*/ 192 w 512"/>
              <a:gd name="T73" fmla="*/ 256 h 512"/>
              <a:gd name="T74" fmla="*/ 203 w 512"/>
              <a:gd name="T75" fmla="*/ 267 h 512"/>
              <a:gd name="T76" fmla="*/ 224 w 512"/>
              <a:gd name="T77" fmla="*/ 267 h 512"/>
              <a:gd name="T78" fmla="*/ 224 w 512"/>
              <a:gd name="T79" fmla="*/ 352 h 512"/>
              <a:gd name="T80" fmla="*/ 192 w 512"/>
              <a:gd name="T81" fmla="*/ 352 h 512"/>
              <a:gd name="T82" fmla="*/ 181 w 512"/>
              <a:gd name="T83" fmla="*/ 363 h 512"/>
              <a:gd name="T84" fmla="*/ 181 w 512"/>
              <a:gd name="T85" fmla="*/ 406 h 512"/>
              <a:gd name="T86" fmla="*/ 192 w 512"/>
              <a:gd name="T87" fmla="*/ 416 h 512"/>
              <a:gd name="T88" fmla="*/ 320 w 512"/>
              <a:gd name="T89" fmla="*/ 416 h 512"/>
              <a:gd name="T90" fmla="*/ 331 w 512"/>
              <a:gd name="T91" fmla="*/ 406 h 512"/>
              <a:gd name="T92" fmla="*/ 331 w 512"/>
              <a:gd name="T93" fmla="*/ 3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35" y="139"/>
                </a:moveTo>
                <a:cubicBezTo>
                  <a:pt x="235" y="127"/>
                  <a:pt x="244" y="118"/>
                  <a:pt x="256" y="118"/>
                </a:cubicBezTo>
                <a:cubicBezTo>
                  <a:pt x="268" y="118"/>
                  <a:pt x="277" y="127"/>
                  <a:pt x="277" y="139"/>
                </a:cubicBezTo>
                <a:cubicBezTo>
                  <a:pt x="277" y="151"/>
                  <a:pt x="268" y="160"/>
                  <a:pt x="256" y="160"/>
                </a:cubicBezTo>
                <a:cubicBezTo>
                  <a:pt x="244" y="160"/>
                  <a:pt x="235" y="151"/>
                  <a:pt x="235" y="139"/>
                </a:cubicBezTo>
                <a:close/>
                <a:moveTo>
                  <a:pt x="267" y="363"/>
                </a:moveTo>
                <a:cubicBezTo>
                  <a:pt x="267" y="224"/>
                  <a:pt x="267" y="224"/>
                  <a:pt x="267" y="224"/>
                </a:cubicBezTo>
                <a:cubicBezTo>
                  <a:pt x="213" y="224"/>
                  <a:pt x="213" y="224"/>
                  <a:pt x="213" y="224"/>
                </a:cubicBezTo>
                <a:cubicBezTo>
                  <a:pt x="213" y="246"/>
                  <a:pt x="213" y="246"/>
                  <a:pt x="213" y="246"/>
                </a:cubicBezTo>
                <a:cubicBezTo>
                  <a:pt x="235" y="246"/>
                  <a:pt x="235" y="246"/>
                  <a:pt x="235" y="246"/>
                </a:cubicBezTo>
                <a:cubicBezTo>
                  <a:pt x="241" y="246"/>
                  <a:pt x="245" y="250"/>
                  <a:pt x="245" y="256"/>
                </a:cubicBezTo>
                <a:cubicBezTo>
                  <a:pt x="245" y="363"/>
                  <a:pt x="245" y="363"/>
                  <a:pt x="245" y="363"/>
                </a:cubicBezTo>
                <a:cubicBezTo>
                  <a:pt x="245" y="369"/>
                  <a:pt x="241" y="374"/>
                  <a:pt x="235" y="374"/>
                </a:cubicBezTo>
                <a:cubicBezTo>
                  <a:pt x="203" y="374"/>
                  <a:pt x="203" y="374"/>
                  <a:pt x="203" y="374"/>
                </a:cubicBezTo>
                <a:cubicBezTo>
                  <a:pt x="203" y="395"/>
                  <a:pt x="203" y="395"/>
                  <a:pt x="203" y="395"/>
                </a:cubicBezTo>
                <a:cubicBezTo>
                  <a:pt x="309" y="395"/>
                  <a:pt x="309" y="395"/>
                  <a:pt x="309" y="395"/>
                </a:cubicBezTo>
                <a:cubicBezTo>
                  <a:pt x="309" y="374"/>
                  <a:pt x="309" y="374"/>
                  <a:pt x="309" y="374"/>
                </a:cubicBezTo>
                <a:cubicBezTo>
                  <a:pt x="277" y="374"/>
                  <a:pt x="277" y="374"/>
                  <a:pt x="277" y="374"/>
                </a:cubicBezTo>
                <a:cubicBezTo>
                  <a:pt x="271" y="374"/>
                  <a:pt x="267" y="369"/>
                  <a:pt x="267" y="363"/>
                </a:cubicBez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213" y="139"/>
                </a:moveTo>
                <a:cubicBezTo>
                  <a:pt x="213" y="163"/>
                  <a:pt x="232" y="182"/>
                  <a:pt x="256" y="182"/>
                </a:cubicBezTo>
                <a:cubicBezTo>
                  <a:pt x="280" y="182"/>
                  <a:pt x="299" y="163"/>
                  <a:pt x="299" y="139"/>
                </a:cubicBezTo>
                <a:cubicBezTo>
                  <a:pt x="299" y="115"/>
                  <a:pt x="280" y="96"/>
                  <a:pt x="256" y="96"/>
                </a:cubicBezTo>
                <a:cubicBezTo>
                  <a:pt x="232" y="96"/>
                  <a:pt x="213" y="115"/>
                  <a:pt x="213" y="139"/>
                </a:cubicBezTo>
                <a:close/>
                <a:moveTo>
                  <a:pt x="331" y="363"/>
                </a:moveTo>
                <a:cubicBezTo>
                  <a:pt x="331" y="357"/>
                  <a:pt x="326" y="352"/>
                  <a:pt x="320" y="352"/>
                </a:cubicBezTo>
                <a:cubicBezTo>
                  <a:pt x="288" y="352"/>
                  <a:pt x="288" y="352"/>
                  <a:pt x="288" y="352"/>
                </a:cubicBezTo>
                <a:cubicBezTo>
                  <a:pt x="288" y="214"/>
                  <a:pt x="288" y="214"/>
                  <a:pt x="288" y="214"/>
                </a:cubicBezTo>
                <a:cubicBezTo>
                  <a:pt x="288" y="208"/>
                  <a:pt x="283" y="203"/>
                  <a:pt x="277" y="203"/>
                </a:cubicBezTo>
                <a:cubicBezTo>
                  <a:pt x="203" y="203"/>
                  <a:pt x="203" y="203"/>
                  <a:pt x="203" y="203"/>
                </a:cubicBezTo>
                <a:cubicBezTo>
                  <a:pt x="197" y="203"/>
                  <a:pt x="192" y="208"/>
                  <a:pt x="192" y="214"/>
                </a:cubicBezTo>
                <a:cubicBezTo>
                  <a:pt x="192" y="256"/>
                  <a:pt x="192" y="256"/>
                  <a:pt x="192" y="256"/>
                </a:cubicBezTo>
                <a:cubicBezTo>
                  <a:pt x="192" y="262"/>
                  <a:pt x="197" y="267"/>
                  <a:pt x="203" y="267"/>
                </a:cubicBezTo>
                <a:cubicBezTo>
                  <a:pt x="224" y="267"/>
                  <a:pt x="224" y="267"/>
                  <a:pt x="224" y="267"/>
                </a:cubicBezTo>
                <a:cubicBezTo>
                  <a:pt x="224" y="352"/>
                  <a:pt x="224" y="352"/>
                  <a:pt x="224" y="352"/>
                </a:cubicBezTo>
                <a:cubicBezTo>
                  <a:pt x="192" y="352"/>
                  <a:pt x="192" y="352"/>
                  <a:pt x="192" y="352"/>
                </a:cubicBezTo>
                <a:cubicBezTo>
                  <a:pt x="186" y="352"/>
                  <a:pt x="181" y="357"/>
                  <a:pt x="181" y="363"/>
                </a:cubicBezTo>
                <a:cubicBezTo>
                  <a:pt x="181" y="406"/>
                  <a:pt x="181" y="406"/>
                  <a:pt x="181" y="406"/>
                </a:cubicBezTo>
                <a:cubicBezTo>
                  <a:pt x="181" y="412"/>
                  <a:pt x="186" y="416"/>
                  <a:pt x="192" y="416"/>
                </a:cubicBezTo>
                <a:cubicBezTo>
                  <a:pt x="320" y="416"/>
                  <a:pt x="320" y="416"/>
                  <a:pt x="320" y="416"/>
                </a:cubicBezTo>
                <a:cubicBezTo>
                  <a:pt x="326" y="416"/>
                  <a:pt x="331" y="412"/>
                  <a:pt x="331" y="406"/>
                </a:cubicBezTo>
                <a:lnTo>
                  <a:pt x="331" y="36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A795102-C073-44A7-AAA2-F8D49A88DF2B}"/>
              </a:ext>
            </a:extLst>
          </p:cNvPr>
          <p:cNvSpPr txBox="1"/>
          <p:nvPr/>
        </p:nvSpPr>
        <p:spPr>
          <a:xfrm>
            <a:off x="9895777" y="4389856"/>
            <a:ext cx="200188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pt-BR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cisão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E1A83C4-2BF4-4A34-A73A-D8B7011ECCAC}"/>
              </a:ext>
            </a:extLst>
          </p:cNvPr>
          <p:cNvSpPr txBox="1"/>
          <p:nvPr/>
        </p:nvSpPr>
        <p:spPr>
          <a:xfrm>
            <a:off x="8258361" y="4389856"/>
            <a:ext cx="200188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pt-BR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ormação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24F205D-2067-45F8-A43F-836DD08E9FA5}"/>
              </a:ext>
            </a:extLst>
          </p:cNvPr>
          <p:cNvSpPr txBox="1"/>
          <p:nvPr/>
        </p:nvSpPr>
        <p:spPr>
          <a:xfrm>
            <a:off x="1304034" y="2940966"/>
            <a:ext cx="200188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pt-BR" sz="1800" b="1" i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dos Bruto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F98FF79-7B01-4CFE-BE80-8461E84285BE}"/>
              </a:ext>
            </a:extLst>
          </p:cNvPr>
          <p:cNvSpPr txBox="1"/>
          <p:nvPr/>
        </p:nvSpPr>
        <p:spPr>
          <a:xfrm>
            <a:off x="5042133" y="2955900"/>
            <a:ext cx="200188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pt-BR" sz="1800" b="1" i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nologia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28C4767-E2B8-4BF0-84B8-FC5BF60A03B1}"/>
              </a:ext>
            </a:extLst>
          </p:cNvPr>
          <p:cNvSpPr txBox="1"/>
          <p:nvPr/>
        </p:nvSpPr>
        <p:spPr>
          <a:xfrm>
            <a:off x="9010965" y="2952523"/>
            <a:ext cx="200188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pt-BR" sz="1800" b="1" i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ultado</a:t>
            </a:r>
          </a:p>
        </p:txBody>
      </p:sp>
    </p:spTree>
    <p:extLst>
      <p:ext uri="{BB962C8B-B14F-4D97-AF65-F5344CB8AC3E}">
        <p14:creationId xmlns:p14="http://schemas.microsoft.com/office/powerpoint/2010/main" val="9484218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3516710" y="875483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58" name="Text Placeholder 9"/>
          <p:cNvSpPr txBox="1">
            <a:spLocks/>
          </p:cNvSpPr>
          <p:nvPr/>
        </p:nvSpPr>
        <p:spPr>
          <a:xfrm>
            <a:off x="364276" y="783962"/>
            <a:ext cx="8352000" cy="4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 dirty="0">
                <a:solidFill>
                  <a:srgbClr val="86BC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etodologia de Trabalho</a:t>
            </a:r>
          </a:p>
        </p:txBody>
      </p:sp>
      <p:sp>
        <p:nvSpPr>
          <p:cNvPr id="64" name="Title 8"/>
          <p:cNvSpPr txBox="1">
            <a:spLocks/>
          </p:cNvSpPr>
          <p:nvPr/>
        </p:nvSpPr>
        <p:spPr>
          <a:xfrm>
            <a:off x="364276" y="314470"/>
            <a:ext cx="9523043" cy="4694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Projeto Integrador II</a:t>
            </a:r>
          </a:p>
        </p:txBody>
      </p:sp>
      <p:sp>
        <p:nvSpPr>
          <p:cNvPr id="43" name="Oval 155">
            <a:extLst>
              <a:ext uri="{FF2B5EF4-FFF2-40B4-BE49-F238E27FC236}">
                <a16:creationId xmlns:a16="http://schemas.microsoft.com/office/drawing/2014/main" id="{E41E853A-87AD-4008-8894-C39D5418AAEC}"/>
              </a:ext>
            </a:extLst>
          </p:cNvPr>
          <p:cNvSpPr/>
          <p:nvPr/>
        </p:nvSpPr>
        <p:spPr>
          <a:xfrm rot="2700000">
            <a:off x="5704016" y="1688406"/>
            <a:ext cx="1224136" cy="2290176"/>
          </a:xfrm>
          <a:custGeom>
            <a:avLst/>
            <a:gdLst/>
            <a:ahLst/>
            <a:cxnLst/>
            <a:rect l="l" t="t" r="r" b="b"/>
            <a:pathLst>
              <a:path w="1224136" h="2290176">
                <a:moveTo>
                  <a:pt x="459315" y="63272"/>
                </a:moveTo>
                <a:cubicBezTo>
                  <a:pt x="498408" y="24179"/>
                  <a:pt x="552413" y="0"/>
                  <a:pt x="612067" y="0"/>
                </a:cubicBezTo>
                <a:cubicBezTo>
                  <a:pt x="731374" y="0"/>
                  <a:pt x="828091" y="96717"/>
                  <a:pt x="828091" y="216024"/>
                </a:cubicBezTo>
                <a:cubicBezTo>
                  <a:pt x="828091" y="299408"/>
                  <a:pt x="780848" y="371757"/>
                  <a:pt x="711216" y="406896"/>
                </a:cubicBezTo>
                <a:cubicBezTo>
                  <a:pt x="691916" y="450663"/>
                  <a:pt x="710516" y="496019"/>
                  <a:pt x="737802" y="533019"/>
                </a:cubicBezTo>
                <a:lnTo>
                  <a:pt x="1224136" y="533019"/>
                </a:lnTo>
                <a:lnTo>
                  <a:pt x="1224136" y="1019520"/>
                </a:lnTo>
                <a:cubicBezTo>
                  <a:pt x="1187224" y="1046736"/>
                  <a:pt x="1141992" y="1065189"/>
                  <a:pt x="1098339" y="1045939"/>
                </a:cubicBezTo>
                <a:cubicBezTo>
                  <a:pt x="1063200" y="976307"/>
                  <a:pt x="990851" y="929064"/>
                  <a:pt x="907467" y="929064"/>
                </a:cubicBezTo>
                <a:cubicBezTo>
                  <a:pt x="788160" y="929064"/>
                  <a:pt x="691443" y="1025781"/>
                  <a:pt x="691443" y="1145088"/>
                </a:cubicBezTo>
                <a:cubicBezTo>
                  <a:pt x="691443" y="1204742"/>
                  <a:pt x="715622" y="1258747"/>
                  <a:pt x="754715" y="1297840"/>
                </a:cubicBezTo>
                <a:cubicBezTo>
                  <a:pt x="793807" y="1336933"/>
                  <a:pt x="847813" y="1361112"/>
                  <a:pt x="907467" y="1361112"/>
                </a:cubicBezTo>
                <a:cubicBezTo>
                  <a:pt x="988927" y="1361112"/>
                  <a:pt x="1059856" y="1316024"/>
                  <a:pt x="1095778" y="1248955"/>
                </a:cubicBezTo>
                <a:cubicBezTo>
                  <a:pt x="1141514" y="1226580"/>
                  <a:pt x="1182162" y="1242465"/>
                  <a:pt x="1224136" y="1270694"/>
                </a:cubicBezTo>
                <a:lnTo>
                  <a:pt x="1224136" y="1757155"/>
                </a:lnTo>
                <a:lnTo>
                  <a:pt x="737829" y="1757155"/>
                </a:lnTo>
                <a:cubicBezTo>
                  <a:pt x="709519" y="1799263"/>
                  <a:pt x="693505" y="1839996"/>
                  <a:pt x="715934" y="1885841"/>
                </a:cubicBezTo>
                <a:cubicBezTo>
                  <a:pt x="783003" y="1921763"/>
                  <a:pt x="828091" y="1992692"/>
                  <a:pt x="828091" y="2074152"/>
                </a:cubicBezTo>
                <a:cubicBezTo>
                  <a:pt x="828091" y="2133806"/>
                  <a:pt x="803912" y="2187812"/>
                  <a:pt x="764819" y="2226904"/>
                </a:cubicBezTo>
                <a:cubicBezTo>
                  <a:pt x="725726" y="2265997"/>
                  <a:pt x="671721" y="2290176"/>
                  <a:pt x="612067" y="2290176"/>
                </a:cubicBezTo>
                <a:cubicBezTo>
                  <a:pt x="492760" y="2290176"/>
                  <a:pt x="396043" y="2193459"/>
                  <a:pt x="396043" y="2074152"/>
                </a:cubicBezTo>
                <a:cubicBezTo>
                  <a:pt x="396043" y="1990768"/>
                  <a:pt x="443286" y="1918419"/>
                  <a:pt x="512918" y="1883280"/>
                </a:cubicBezTo>
                <a:cubicBezTo>
                  <a:pt x="532218" y="1839512"/>
                  <a:pt x="513617" y="1794156"/>
                  <a:pt x="486331" y="1757155"/>
                </a:cubicBezTo>
                <a:lnTo>
                  <a:pt x="0" y="1757155"/>
                </a:lnTo>
                <a:lnTo>
                  <a:pt x="0" y="1267857"/>
                </a:lnTo>
                <a:cubicBezTo>
                  <a:pt x="35436" y="1241878"/>
                  <a:pt x="78596" y="1225841"/>
                  <a:pt x="120314" y="1244237"/>
                </a:cubicBezTo>
                <a:cubicBezTo>
                  <a:pt x="155453" y="1313869"/>
                  <a:pt x="227802" y="1361112"/>
                  <a:pt x="311186" y="1361112"/>
                </a:cubicBezTo>
                <a:cubicBezTo>
                  <a:pt x="430493" y="1361112"/>
                  <a:pt x="527210" y="1264395"/>
                  <a:pt x="527210" y="1145088"/>
                </a:cubicBezTo>
                <a:cubicBezTo>
                  <a:pt x="527210" y="1085434"/>
                  <a:pt x="503031" y="1031429"/>
                  <a:pt x="463938" y="992336"/>
                </a:cubicBezTo>
                <a:cubicBezTo>
                  <a:pt x="424846" y="953243"/>
                  <a:pt x="370840" y="929064"/>
                  <a:pt x="311186" y="929064"/>
                </a:cubicBezTo>
                <a:cubicBezTo>
                  <a:pt x="229726" y="929064"/>
                  <a:pt x="158797" y="974152"/>
                  <a:pt x="122875" y="1041221"/>
                </a:cubicBezTo>
                <a:cubicBezTo>
                  <a:pt x="78969" y="1062702"/>
                  <a:pt x="39751" y="1048921"/>
                  <a:pt x="0" y="1022105"/>
                </a:cubicBezTo>
                <a:lnTo>
                  <a:pt x="0" y="533019"/>
                </a:lnTo>
                <a:lnTo>
                  <a:pt x="486305" y="533019"/>
                </a:lnTo>
                <a:cubicBezTo>
                  <a:pt x="514616" y="490912"/>
                  <a:pt x="530628" y="450179"/>
                  <a:pt x="508200" y="404335"/>
                </a:cubicBezTo>
                <a:cubicBezTo>
                  <a:pt x="441131" y="368413"/>
                  <a:pt x="396043" y="297484"/>
                  <a:pt x="396043" y="216024"/>
                </a:cubicBezTo>
                <a:cubicBezTo>
                  <a:pt x="396043" y="156370"/>
                  <a:pt x="420222" y="102364"/>
                  <a:pt x="459315" y="63272"/>
                </a:cubicBezTo>
                <a:close/>
              </a:path>
            </a:pathLst>
          </a:cu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4" name="Oval 155">
            <a:extLst>
              <a:ext uri="{FF2B5EF4-FFF2-40B4-BE49-F238E27FC236}">
                <a16:creationId xmlns:a16="http://schemas.microsoft.com/office/drawing/2014/main" id="{98A334A8-3534-4996-A46F-155A5B11D7F5}"/>
              </a:ext>
            </a:extLst>
          </p:cNvPr>
          <p:cNvSpPr/>
          <p:nvPr/>
        </p:nvSpPr>
        <p:spPr>
          <a:xfrm rot="18900000">
            <a:off x="6569842" y="2554231"/>
            <a:ext cx="1224136" cy="2290176"/>
          </a:xfrm>
          <a:custGeom>
            <a:avLst/>
            <a:gdLst/>
            <a:ahLst/>
            <a:cxnLst/>
            <a:rect l="l" t="t" r="r" b="b"/>
            <a:pathLst>
              <a:path w="1224136" h="2290176">
                <a:moveTo>
                  <a:pt x="764820" y="63272"/>
                </a:moveTo>
                <a:cubicBezTo>
                  <a:pt x="803913" y="102365"/>
                  <a:pt x="828092" y="156370"/>
                  <a:pt x="828092" y="216024"/>
                </a:cubicBezTo>
                <a:cubicBezTo>
                  <a:pt x="828092" y="299408"/>
                  <a:pt x="780849" y="371757"/>
                  <a:pt x="711217" y="406896"/>
                </a:cubicBezTo>
                <a:cubicBezTo>
                  <a:pt x="691917" y="450664"/>
                  <a:pt x="710518" y="496020"/>
                  <a:pt x="737803" y="533020"/>
                </a:cubicBezTo>
                <a:lnTo>
                  <a:pt x="1224136" y="533020"/>
                </a:lnTo>
                <a:lnTo>
                  <a:pt x="1224136" y="1022318"/>
                </a:lnTo>
                <a:cubicBezTo>
                  <a:pt x="1188700" y="1048297"/>
                  <a:pt x="1145539" y="1064335"/>
                  <a:pt x="1103821" y="1045938"/>
                </a:cubicBezTo>
                <a:cubicBezTo>
                  <a:pt x="1068682" y="976306"/>
                  <a:pt x="996333" y="929063"/>
                  <a:pt x="912949" y="929063"/>
                </a:cubicBezTo>
                <a:cubicBezTo>
                  <a:pt x="793642" y="929063"/>
                  <a:pt x="696925" y="1025780"/>
                  <a:pt x="696925" y="1145087"/>
                </a:cubicBezTo>
                <a:cubicBezTo>
                  <a:pt x="696925" y="1204741"/>
                  <a:pt x="721104" y="1258746"/>
                  <a:pt x="760197" y="1297839"/>
                </a:cubicBezTo>
                <a:cubicBezTo>
                  <a:pt x="799289" y="1336932"/>
                  <a:pt x="853295" y="1361111"/>
                  <a:pt x="912949" y="1361111"/>
                </a:cubicBezTo>
                <a:cubicBezTo>
                  <a:pt x="994409" y="1361111"/>
                  <a:pt x="1065338" y="1316024"/>
                  <a:pt x="1101260" y="1248954"/>
                </a:cubicBezTo>
                <a:cubicBezTo>
                  <a:pt x="1145167" y="1227474"/>
                  <a:pt x="1184385" y="1241254"/>
                  <a:pt x="1224136" y="1268071"/>
                </a:cubicBezTo>
                <a:lnTo>
                  <a:pt x="1224136" y="1757156"/>
                </a:lnTo>
                <a:lnTo>
                  <a:pt x="737830" y="1757156"/>
                </a:lnTo>
                <a:cubicBezTo>
                  <a:pt x="709520" y="1799264"/>
                  <a:pt x="693507" y="1839997"/>
                  <a:pt x="715935" y="1885841"/>
                </a:cubicBezTo>
                <a:cubicBezTo>
                  <a:pt x="783004" y="1921763"/>
                  <a:pt x="828092" y="1992692"/>
                  <a:pt x="828092" y="2074152"/>
                </a:cubicBezTo>
                <a:cubicBezTo>
                  <a:pt x="828092" y="2133806"/>
                  <a:pt x="803913" y="2187812"/>
                  <a:pt x="764820" y="2226904"/>
                </a:cubicBezTo>
                <a:cubicBezTo>
                  <a:pt x="725727" y="2265997"/>
                  <a:pt x="671722" y="2290176"/>
                  <a:pt x="612068" y="2290176"/>
                </a:cubicBezTo>
                <a:cubicBezTo>
                  <a:pt x="492761" y="2290176"/>
                  <a:pt x="396044" y="2193459"/>
                  <a:pt x="396044" y="2074152"/>
                </a:cubicBezTo>
                <a:cubicBezTo>
                  <a:pt x="396044" y="1990768"/>
                  <a:pt x="443287" y="1918419"/>
                  <a:pt x="512919" y="1883280"/>
                </a:cubicBezTo>
                <a:cubicBezTo>
                  <a:pt x="532219" y="1839512"/>
                  <a:pt x="513618" y="1794157"/>
                  <a:pt x="486333" y="1757156"/>
                </a:cubicBezTo>
                <a:lnTo>
                  <a:pt x="0" y="1757156"/>
                </a:lnTo>
                <a:lnTo>
                  <a:pt x="0" y="1271295"/>
                </a:lnTo>
                <a:cubicBezTo>
                  <a:pt x="37251" y="1243817"/>
                  <a:pt x="82955" y="1224793"/>
                  <a:pt x="127049" y="1244237"/>
                </a:cubicBezTo>
                <a:cubicBezTo>
                  <a:pt x="162188" y="1313869"/>
                  <a:pt x="234537" y="1361112"/>
                  <a:pt x="317921" y="1361112"/>
                </a:cubicBezTo>
                <a:cubicBezTo>
                  <a:pt x="437228" y="1361112"/>
                  <a:pt x="533945" y="1264395"/>
                  <a:pt x="533945" y="1145088"/>
                </a:cubicBezTo>
                <a:cubicBezTo>
                  <a:pt x="533945" y="1085434"/>
                  <a:pt x="509766" y="1031429"/>
                  <a:pt x="470673" y="992336"/>
                </a:cubicBezTo>
                <a:cubicBezTo>
                  <a:pt x="431581" y="953243"/>
                  <a:pt x="377575" y="929064"/>
                  <a:pt x="317921" y="929064"/>
                </a:cubicBezTo>
                <a:cubicBezTo>
                  <a:pt x="236461" y="929064"/>
                  <a:pt x="165532" y="974152"/>
                  <a:pt x="129610" y="1041221"/>
                </a:cubicBezTo>
                <a:cubicBezTo>
                  <a:pt x="83460" y="1063799"/>
                  <a:pt x="42490" y="1047421"/>
                  <a:pt x="0" y="1018884"/>
                </a:cubicBezTo>
                <a:lnTo>
                  <a:pt x="0" y="533020"/>
                </a:lnTo>
                <a:lnTo>
                  <a:pt x="486306" y="533020"/>
                </a:lnTo>
                <a:cubicBezTo>
                  <a:pt x="514616" y="490912"/>
                  <a:pt x="530629" y="450179"/>
                  <a:pt x="508201" y="404335"/>
                </a:cubicBezTo>
                <a:cubicBezTo>
                  <a:pt x="441132" y="368413"/>
                  <a:pt x="396044" y="297484"/>
                  <a:pt x="396044" y="216024"/>
                </a:cubicBezTo>
                <a:cubicBezTo>
                  <a:pt x="396044" y="156370"/>
                  <a:pt x="420223" y="102364"/>
                  <a:pt x="459316" y="63272"/>
                </a:cubicBezTo>
                <a:cubicBezTo>
                  <a:pt x="498409" y="24179"/>
                  <a:pt x="552414" y="0"/>
                  <a:pt x="612068" y="0"/>
                </a:cubicBezTo>
                <a:cubicBezTo>
                  <a:pt x="671722" y="0"/>
                  <a:pt x="725728" y="24180"/>
                  <a:pt x="764820" y="63272"/>
                </a:cubicBezTo>
                <a:close/>
              </a:path>
            </a:pathLst>
          </a:cu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45" name="Oval 155">
            <a:extLst>
              <a:ext uri="{FF2B5EF4-FFF2-40B4-BE49-F238E27FC236}">
                <a16:creationId xmlns:a16="http://schemas.microsoft.com/office/drawing/2014/main" id="{03FAE6A3-E8C6-4E57-93DC-07EEEF0A9282}"/>
              </a:ext>
            </a:extLst>
          </p:cNvPr>
          <p:cNvSpPr/>
          <p:nvPr/>
        </p:nvSpPr>
        <p:spPr>
          <a:xfrm rot="18900000">
            <a:off x="4838167" y="2554256"/>
            <a:ext cx="1224136" cy="2290177"/>
          </a:xfrm>
          <a:custGeom>
            <a:avLst/>
            <a:gdLst/>
            <a:ahLst/>
            <a:cxnLst/>
            <a:rect l="l" t="t" r="r" b="b"/>
            <a:pathLst>
              <a:path w="1224136" h="2290177">
                <a:moveTo>
                  <a:pt x="764821" y="63272"/>
                </a:moveTo>
                <a:cubicBezTo>
                  <a:pt x="803914" y="102365"/>
                  <a:pt x="828093" y="156370"/>
                  <a:pt x="828093" y="216024"/>
                </a:cubicBezTo>
                <a:cubicBezTo>
                  <a:pt x="828093" y="299408"/>
                  <a:pt x="780850" y="371757"/>
                  <a:pt x="711218" y="406896"/>
                </a:cubicBezTo>
                <a:cubicBezTo>
                  <a:pt x="691918" y="450664"/>
                  <a:pt x="710519" y="496020"/>
                  <a:pt x="737804" y="533020"/>
                </a:cubicBezTo>
                <a:lnTo>
                  <a:pt x="1224136" y="533020"/>
                </a:lnTo>
                <a:lnTo>
                  <a:pt x="1224136" y="1019537"/>
                </a:lnTo>
                <a:cubicBezTo>
                  <a:pt x="1187233" y="1046745"/>
                  <a:pt x="1142014" y="1065183"/>
                  <a:pt x="1098373" y="1045938"/>
                </a:cubicBezTo>
                <a:cubicBezTo>
                  <a:pt x="1063233" y="976306"/>
                  <a:pt x="990884" y="929063"/>
                  <a:pt x="907500" y="929063"/>
                </a:cubicBezTo>
                <a:cubicBezTo>
                  <a:pt x="788193" y="929063"/>
                  <a:pt x="691476" y="1025780"/>
                  <a:pt x="691476" y="1145087"/>
                </a:cubicBezTo>
                <a:cubicBezTo>
                  <a:pt x="691476" y="1204741"/>
                  <a:pt x="715655" y="1258747"/>
                  <a:pt x="754748" y="1297839"/>
                </a:cubicBezTo>
                <a:cubicBezTo>
                  <a:pt x="793841" y="1336932"/>
                  <a:pt x="847846" y="1361111"/>
                  <a:pt x="907500" y="1361111"/>
                </a:cubicBezTo>
                <a:cubicBezTo>
                  <a:pt x="988961" y="1361111"/>
                  <a:pt x="1059890" y="1316024"/>
                  <a:pt x="1095811" y="1248954"/>
                </a:cubicBezTo>
                <a:cubicBezTo>
                  <a:pt x="1141537" y="1226584"/>
                  <a:pt x="1182177" y="1242456"/>
                  <a:pt x="1224136" y="1270677"/>
                </a:cubicBezTo>
                <a:lnTo>
                  <a:pt x="1224136" y="1757156"/>
                </a:lnTo>
                <a:lnTo>
                  <a:pt x="737831" y="1757156"/>
                </a:lnTo>
                <a:cubicBezTo>
                  <a:pt x="709521" y="1799265"/>
                  <a:pt x="693508" y="1839998"/>
                  <a:pt x="715937" y="1885842"/>
                </a:cubicBezTo>
                <a:cubicBezTo>
                  <a:pt x="783005" y="1921764"/>
                  <a:pt x="828094" y="1992693"/>
                  <a:pt x="828094" y="2074153"/>
                </a:cubicBezTo>
                <a:cubicBezTo>
                  <a:pt x="828093" y="2133807"/>
                  <a:pt x="803915" y="2187813"/>
                  <a:pt x="764821" y="2226905"/>
                </a:cubicBezTo>
                <a:cubicBezTo>
                  <a:pt x="725728" y="2265998"/>
                  <a:pt x="671723" y="2290177"/>
                  <a:pt x="612070" y="2290177"/>
                </a:cubicBezTo>
                <a:cubicBezTo>
                  <a:pt x="492762" y="2290177"/>
                  <a:pt x="396045" y="2193460"/>
                  <a:pt x="396045" y="2074153"/>
                </a:cubicBezTo>
                <a:cubicBezTo>
                  <a:pt x="396045" y="1990769"/>
                  <a:pt x="443288" y="1918420"/>
                  <a:pt x="512921" y="1883281"/>
                </a:cubicBezTo>
                <a:cubicBezTo>
                  <a:pt x="532220" y="1839513"/>
                  <a:pt x="513619" y="1794157"/>
                  <a:pt x="486333" y="1757155"/>
                </a:cubicBezTo>
                <a:lnTo>
                  <a:pt x="1" y="1757156"/>
                </a:lnTo>
                <a:lnTo>
                  <a:pt x="1" y="1271298"/>
                </a:lnTo>
                <a:cubicBezTo>
                  <a:pt x="37251" y="1243817"/>
                  <a:pt x="82956" y="1224794"/>
                  <a:pt x="127049" y="1244238"/>
                </a:cubicBezTo>
                <a:cubicBezTo>
                  <a:pt x="162189" y="1313869"/>
                  <a:pt x="234538" y="1361113"/>
                  <a:pt x="317921" y="1361113"/>
                </a:cubicBezTo>
                <a:cubicBezTo>
                  <a:pt x="437228" y="1361113"/>
                  <a:pt x="533945" y="1264396"/>
                  <a:pt x="533945" y="1145089"/>
                </a:cubicBezTo>
                <a:cubicBezTo>
                  <a:pt x="533945" y="1085435"/>
                  <a:pt x="509766" y="1031429"/>
                  <a:pt x="470673" y="992337"/>
                </a:cubicBezTo>
                <a:cubicBezTo>
                  <a:pt x="431581" y="953244"/>
                  <a:pt x="377575" y="929065"/>
                  <a:pt x="317921" y="929065"/>
                </a:cubicBezTo>
                <a:cubicBezTo>
                  <a:pt x="236461" y="929065"/>
                  <a:pt x="165532" y="974153"/>
                  <a:pt x="129610" y="1041222"/>
                </a:cubicBezTo>
                <a:cubicBezTo>
                  <a:pt x="83461" y="1063799"/>
                  <a:pt x="42491" y="1047422"/>
                  <a:pt x="0" y="1018884"/>
                </a:cubicBezTo>
                <a:lnTo>
                  <a:pt x="0" y="533020"/>
                </a:lnTo>
                <a:lnTo>
                  <a:pt x="486307" y="533020"/>
                </a:lnTo>
                <a:cubicBezTo>
                  <a:pt x="514617" y="490912"/>
                  <a:pt x="530630" y="450179"/>
                  <a:pt x="508202" y="404335"/>
                </a:cubicBezTo>
                <a:cubicBezTo>
                  <a:pt x="441133" y="368413"/>
                  <a:pt x="396045" y="297484"/>
                  <a:pt x="396045" y="216024"/>
                </a:cubicBezTo>
                <a:cubicBezTo>
                  <a:pt x="396045" y="156370"/>
                  <a:pt x="420224" y="102364"/>
                  <a:pt x="459317" y="63272"/>
                </a:cubicBezTo>
                <a:cubicBezTo>
                  <a:pt x="498410" y="24179"/>
                  <a:pt x="552415" y="0"/>
                  <a:pt x="612069" y="0"/>
                </a:cubicBezTo>
                <a:cubicBezTo>
                  <a:pt x="671723" y="0"/>
                  <a:pt x="725728" y="24179"/>
                  <a:pt x="764821" y="63272"/>
                </a:cubicBezTo>
                <a:close/>
              </a:path>
            </a:pathLst>
          </a:cu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46" name="Rectangle 140">
            <a:extLst>
              <a:ext uri="{FF2B5EF4-FFF2-40B4-BE49-F238E27FC236}">
                <a16:creationId xmlns:a16="http://schemas.microsoft.com/office/drawing/2014/main" id="{6724B56C-F891-4905-9AB5-F082837B45B5}"/>
              </a:ext>
            </a:extLst>
          </p:cNvPr>
          <p:cNvSpPr/>
          <p:nvPr/>
        </p:nvSpPr>
        <p:spPr>
          <a:xfrm rot="2700000">
            <a:off x="5703992" y="3420081"/>
            <a:ext cx="1224136" cy="2290176"/>
          </a:xfrm>
          <a:custGeom>
            <a:avLst/>
            <a:gdLst/>
            <a:ahLst/>
            <a:cxnLst/>
            <a:rect l="l" t="t" r="r" b="b"/>
            <a:pathLst>
              <a:path w="1224136" h="2290176">
                <a:moveTo>
                  <a:pt x="459315" y="63272"/>
                </a:moveTo>
                <a:cubicBezTo>
                  <a:pt x="498408" y="24178"/>
                  <a:pt x="552413" y="-1"/>
                  <a:pt x="612067" y="0"/>
                </a:cubicBezTo>
                <a:cubicBezTo>
                  <a:pt x="731374" y="-1"/>
                  <a:pt x="828091" y="96717"/>
                  <a:pt x="828091" y="216024"/>
                </a:cubicBezTo>
                <a:cubicBezTo>
                  <a:pt x="828091" y="299408"/>
                  <a:pt x="780848" y="371756"/>
                  <a:pt x="711216" y="406896"/>
                </a:cubicBezTo>
                <a:cubicBezTo>
                  <a:pt x="691916" y="450663"/>
                  <a:pt x="710517" y="496019"/>
                  <a:pt x="737802" y="533019"/>
                </a:cubicBezTo>
                <a:lnTo>
                  <a:pt x="1224136" y="533019"/>
                </a:lnTo>
                <a:lnTo>
                  <a:pt x="1224136" y="1022319"/>
                </a:lnTo>
                <a:cubicBezTo>
                  <a:pt x="1188699" y="1048297"/>
                  <a:pt x="1145539" y="1064335"/>
                  <a:pt x="1103821" y="1045939"/>
                </a:cubicBezTo>
                <a:cubicBezTo>
                  <a:pt x="1068681" y="976307"/>
                  <a:pt x="996332" y="929064"/>
                  <a:pt x="912948" y="929064"/>
                </a:cubicBezTo>
                <a:cubicBezTo>
                  <a:pt x="793641" y="929064"/>
                  <a:pt x="696924" y="1025781"/>
                  <a:pt x="696924" y="1145088"/>
                </a:cubicBezTo>
                <a:cubicBezTo>
                  <a:pt x="696924" y="1204742"/>
                  <a:pt x="721103" y="1258747"/>
                  <a:pt x="760196" y="1297840"/>
                </a:cubicBezTo>
                <a:cubicBezTo>
                  <a:pt x="799288" y="1336933"/>
                  <a:pt x="853295" y="1361112"/>
                  <a:pt x="912948" y="1361112"/>
                </a:cubicBezTo>
                <a:cubicBezTo>
                  <a:pt x="994408" y="1361112"/>
                  <a:pt x="1065338" y="1316024"/>
                  <a:pt x="1101259" y="1248955"/>
                </a:cubicBezTo>
                <a:cubicBezTo>
                  <a:pt x="1145166" y="1227475"/>
                  <a:pt x="1184384" y="1241255"/>
                  <a:pt x="1224136" y="1268072"/>
                </a:cubicBezTo>
                <a:lnTo>
                  <a:pt x="1224136" y="1757155"/>
                </a:lnTo>
                <a:lnTo>
                  <a:pt x="737830" y="1757155"/>
                </a:lnTo>
                <a:cubicBezTo>
                  <a:pt x="709519" y="1799263"/>
                  <a:pt x="693506" y="1839996"/>
                  <a:pt x="715934" y="1885841"/>
                </a:cubicBezTo>
                <a:cubicBezTo>
                  <a:pt x="783003" y="1921763"/>
                  <a:pt x="828091" y="1992692"/>
                  <a:pt x="828091" y="2074152"/>
                </a:cubicBezTo>
                <a:cubicBezTo>
                  <a:pt x="828091" y="2133806"/>
                  <a:pt x="803912" y="2187812"/>
                  <a:pt x="764819" y="2226904"/>
                </a:cubicBezTo>
                <a:cubicBezTo>
                  <a:pt x="725726" y="2265997"/>
                  <a:pt x="671721" y="2290176"/>
                  <a:pt x="612067" y="2290176"/>
                </a:cubicBezTo>
                <a:cubicBezTo>
                  <a:pt x="492760" y="2290176"/>
                  <a:pt x="396043" y="2193459"/>
                  <a:pt x="396043" y="2074152"/>
                </a:cubicBezTo>
                <a:cubicBezTo>
                  <a:pt x="396043" y="1990768"/>
                  <a:pt x="443286" y="1918419"/>
                  <a:pt x="512918" y="1883280"/>
                </a:cubicBezTo>
                <a:cubicBezTo>
                  <a:pt x="532219" y="1839511"/>
                  <a:pt x="513617" y="1794156"/>
                  <a:pt x="486332" y="1757155"/>
                </a:cubicBezTo>
                <a:lnTo>
                  <a:pt x="0" y="1757155"/>
                </a:lnTo>
                <a:lnTo>
                  <a:pt x="0" y="1270658"/>
                </a:lnTo>
                <a:cubicBezTo>
                  <a:pt x="36913" y="1243440"/>
                  <a:pt x="82146" y="1224987"/>
                  <a:pt x="125800" y="1244235"/>
                </a:cubicBezTo>
                <a:cubicBezTo>
                  <a:pt x="160938" y="1313868"/>
                  <a:pt x="233287" y="1361111"/>
                  <a:pt x="316671" y="1361111"/>
                </a:cubicBezTo>
                <a:cubicBezTo>
                  <a:pt x="435979" y="1361111"/>
                  <a:pt x="532696" y="1264394"/>
                  <a:pt x="532695" y="1145087"/>
                </a:cubicBezTo>
                <a:cubicBezTo>
                  <a:pt x="532696" y="1085433"/>
                  <a:pt x="508516" y="1031428"/>
                  <a:pt x="469423" y="992335"/>
                </a:cubicBezTo>
                <a:cubicBezTo>
                  <a:pt x="430331" y="953241"/>
                  <a:pt x="376325" y="929063"/>
                  <a:pt x="316671" y="929063"/>
                </a:cubicBezTo>
                <a:cubicBezTo>
                  <a:pt x="235212" y="929062"/>
                  <a:pt x="164282" y="974151"/>
                  <a:pt x="128360" y="1041219"/>
                </a:cubicBezTo>
                <a:cubicBezTo>
                  <a:pt x="82624" y="1063596"/>
                  <a:pt x="41974" y="1047710"/>
                  <a:pt x="0" y="1019480"/>
                </a:cubicBezTo>
                <a:lnTo>
                  <a:pt x="0" y="533019"/>
                </a:lnTo>
                <a:lnTo>
                  <a:pt x="486306" y="533019"/>
                </a:lnTo>
                <a:cubicBezTo>
                  <a:pt x="514616" y="490911"/>
                  <a:pt x="530629" y="450179"/>
                  <a:pt x="508200" y="404335"/>
                </a:cubicBezTo>
                <a:cubicBezTo>
                  <a:pt x="441131" y="368413"/>
                  <a:pt x="396043" y="297484"/>
                  <a:pt x="396043" y="216024"/>
                </a:cubicBezTo>
                <a:cubicBezTo>
                  <a:pt x="396043" y="156370"/>
                  <a:pt x="420223" y="102364"/>
                  <a:pt x="459315" y="63272"/>
                </a:cubicBezTo>
                <a:close/>
              </a:path>
            </a:pathLst>
          </a:cu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2C5BFD2-4465-478E-AF5F-D4B4BCCDB581}"/>
              </a:ext>
            </a:extLst>
          </p:cNvPr>
          <p:cNvSpPr/>
          <p:nvPr/>
        </p:nvSpPr>
        <p:spPr>
          <a:xfrm>
            <a:off x="8770449" y="1620226"/>
            <a:ext cx="2748616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000" b="1" dirty="0">
                <a:solidFill>
                  <a:schemeClr val="accent3"/>
                </a:solidFill>
              </a:rPr>
              <a:t>2. </a:t>
            </a:r>
            <a:r>
              <a:rPr lang="en-US" sz="1000" b="1" dirty="0" err="1">
                <a:solidFill>
                  <a:schemeClr val="accent3"/>
                </a:solidFill>
              </a:rPr>
              <a:t>Limpeza</a:t>
            </a:r>
            <a:r>
              <a:rPr lang="en-US" sz="1000" b="1" dirty="0">
                <a:solidFill>
                  <a:schemeClr val="accent3"/>
                </a:solidFill>
              </a:rPr>
              <a:t> das Bases</a:t>
            </a:r>
          </a:p>
          <a:p>
            <a:br>
              <a:rPr lang="en-US" sz="1000" b="1" dirty="0"/>
            </a:br>
            <a:r>
              <a:rPr lang="en-US" sz="1000" b="1" dirty="0"/>
              <a:t>- </a:t>
            </a:r>
            <a:r>
              <a:rPr lang="en-US" sz="1000" dirty="0" err="1"/>
              <a:t>Formatação</a:t>
            </a:r>
            <a:r>
              <a:rPr lang="en-US" sz="1000" dirty="0"/>
              <a:t> dos </a:t>
            </a:r>
            <a:r>
              <a:rPr lang="en-US" sz="1000" dirty="0" err="1"/>
              <a:t>campos</a:t>
            </a:r>
            <a:br>
              <a:rPr lang="en-US" sz="1000" dirty="0"/>
            </a:br>
            <a:r>
              <a:rPr lang="en-US" sz="1000" dirty="0"/>
              <a:t>- </a:t>
            </a:r>
            <a:r>
              <a:rPr lang="en-US" sz="1000" dirty="0" err="1"/>
              <a:t>Exclusão</a:t>
            </a:r>
            <a:r>
              <a:rPr lang="en-US" sz="1000" dirty="0"/>
              <a:t> de </a:t>
            </a:r>
            <a:r>
              <a:rPr lang="en-US" sz="1000" dirty="0" err="1"/>
              <a:t>informações</a:t>
            </a:r>
            <a:r>
              <a:rPr lang="en-US" sz="1000" dirty="0"/>
              <a:t> </a:t>
            </a:r>
            <a:r>
              <a:rPr lang="en-US" sz="1000" dirty="0" err="1"/>
              <a:t>inválidas</a:t>
            </a:r>
            <a:endParaRPr lang="en-US" sz="10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64D176E-4E78-4671-B3AA-75B43A41A717}"/>
              </a:ext>
            </a:extLst>
          </p:cNvPr>
          <p:cNvSpPr/>
          <p:nvPr/>
        </p:nvSpPr>
        <p:spPr>
          <a:xfrm>
            <a:off x="8770448" y="5127351"/>
            <a:ext cx="2079062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000" b="1" dirty="0">
                <a:solidFill>
                  <a:schemeClr val="accent4"/>
                </a:solidFill>
              </a:rPr>
              <a:t>4. </a:t>
            </a:r>
            <a:r>
              <a:rPr lang="en-US" sz="1000" b="1" dirty="0" err="1">
                <a:solidFill>
                  <a:schemeClr val="accent4"/>
                </a:solidFill>
              </a:rPr>
              <a:t>Elaboração</a:t>
            </a:r>
            <a:r>
              <a:rPr lang="en-US" sz="1000" b="1" dirty="0">
                <a:solidFill>
                  <a:schemeClr val="accent4"/>
                </a:solidFill>
              </a:rPr>
              <a:t> da </a:t>
            </a:r>
            <a:r>
              <a:rPr lang="en-US" sz="1000" b="1" dirty="0" err="1">
                <a:solidFill>
                  <a:schemeClr val="accent4"/>
                </a:solidFill>
              </a:rPr>
              <a:t>Visibilidade</a:t>
            </a:r>
            <a:br>
              <a:rPr lang="en-US" sz="1000" b="1" dirty="0"/>
            </a:br>
            <a:endParaRPr lang="en-US" sz="1000" dirty="0"/>
          </a:p>
          <a:p>
            <a:r>
              <a:rPr lang="en-US" sz="1000" dirty="0" err="1"/>
              <a:t>Utilização</a:t>
            </a:r>
            <a:r>
              <a:rPr lang="en-US" sz="1000" dirty="0"/>
              <a:t> da Ferramenta </a:t>
            </a:r>
            <a:r>
              <a:rPr lang="en-US" sz="1000" b="1" dirty="0"/>
              <a:t>Power BI </a:t>
            </a:r>
            <a:r>
              <a:rPr lang="en-US" sz="1000" dirty="0"/>
              <a:t>para </a:t>
            </a:r>
            <a:r>
              <a:rPr lang="en-US" sz="1000" dirty="0" err="1"/>
              <a:t>apresentação</a:t>
            </a:r>
            <a:r>
              <a:rPr lang="en-US" sz="1000" dirty="0"/>
              <a:t> dos </a:t>
            </a:r>
            <a:r>
              <a:rPr lang="en-US" sz="1000" dirty="0" err="1"/>
              <a:t>resultados</a:t>
            </a:r>
            <a:endParaRPr lang="en-US" sz="1000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BC22750-E66F-4DAE-912A-CBE1D36D4C44}"/>
              </a:ext>
            </a:extLst>
          </p:cNvPr>
          <p:cNvSpPr/>
          <p:nvPr/>
        </p:nvSpPr>
        <p:spPr>
          <a:xfrm>
            <a:off x="1077940" y="1620226"/>
            <a:ext cx="248499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000" b="1" dirty="0">
                <a:solidFill>
                  <a:schemeClr val="accent2"/>
                </a:solidFill>
              </a:rPr>
              <a:t>1. </a:t>
            </a:r>
            <a:r>
              <a:rPr lang="en-US" sz="1000" b="1" dirty="0" err="1">
                <a:solidFill>
                  <a:schemeClr val="accent2"/>
                </a:solidFill>
              </a:rPr>
              <a:t>Importação</a:t>
            </a:r>
            <a:r>
              <a:rPr lang="en-US" sz="1000" b="1" dirty="0">
                <a:solidFill>
                  <a:schemeClr val="accent2"/>
                </a:solidFill>
              </a:rPr>
              <a:t> das bases no SQL</a:t>
            </a:r>
          </a:p>
          <a:p>
            <a:pPr algn="r"/>
            <a:endParaRPr lang="en-US" sz="1000" b="1" dirty="0">
              <a:solidFill>
                <a:schemeClr val="accent2"/>
              </a:solidFill>
            </a:endParaRPr>
          </a:p>
          <a:p>
            <a:pPr algn="r"/>
            <a:r>
              <a:rPr lang="en-US" sz="1000" dirty="0"/>
              <a:t>- Base Brasil – Formato.csv</a:t>
            </a:r>
          </a:p>
          <a:p>
            <a:pPr algn="r"/>
            <a:r>
              <a:rPr lang="en-US" sz="1000" dirty="0"/>
              <a:t>- Base Births – Formato.csv 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95C9421-E0E8-4056-A539-AB97A7EBB308}"/>
              </a:ext>
            </a:extLst>
          </p:cNvPr>
          <p:cNvSpPr/>
          <p:nvPr/>
        </p:nvSpPr>
        <p:spPr>
          <a:xfrm>
            <a:off x="1451998" y="5213076"/>
            <a:ext cx="211093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000" b="1" dirty="0">
                <a:solidFill>
                  <a:schemeClr val="accent5"/>
                </a:solidFill>
              </a:rPr>
              <a:t>3. </a:t>
            </a:r>
            <a:r>
              <a:rPr lang="en-US" sz="1000" b="1" dirty="0" err="1">
                <a:solidFill>
                  <a:schemeClr val="accent5"/>
                </a:solidFill>
              </a:rPr>
              <a:t>Análise</a:t>
            </a:r>
            <a:r>
              <a:rPr lang="en-US" sz="1000" b="1" dirty="0">
                <a:solidFill>
                  <a:schemeClr val="accent5"/>
                </a:solidFill>
              </a:rPr>
              <a:t> dos Dados</a:t>
            </a:r>
          </a:p>
          <a:p>
            <a:pPr algn="r"/>
            <a:br>
              <a:rPr lang="en-US" sz="1000" b="1" dirty="0"/>
            </a:br>
            <a:r>
              <a:rPr lang="en-US" sz="1000" dirty="0"/>
              <a:t>- 04 </a:t>
            </a:r>
            <a:r>
              <a:rPr lang="en-US" sz="1000" dirty="0" err="1"/>
              <a:t>questões</a:t>
            </a:r>
            <a:r>
              <a:rPr lang="en-US" sz="1000" dirty="0"/>
              <a:t> Base Brasil</a:t>
            </a:r>
          </a:p>
          <a:p>
            <a:pPr algn="r"/>
            <a:r>
              <a:rPr lang="en-US" sz="1000" dirty="0"/>
              <a:t>- 05 </a:t>
            </a:r>
            <a:r>
              <a:rPr lang="en-US" sz="1000" dirty="0" err="1"/>
              <a:t>questões</a:t>
            </a:r>
            <a:r>
              <a:rPr lang="en-US" sz="1000" dirty="0"/>
              <a:t> Base EUA</a:t>
            </a:r>
          </a:p>
        </p:txBody>
      </p:sp>
      <p:sp>
        <p:nvSpPr>
          <p:cNvPr id="51" name="Freeform 41">
            <a:extLst>
              <a:ext uri="{FF2B5EF4-FFF2-40B4-BE49-F238E27FC236}">
                <a16:creationId xmlns:a16="http://schemas.microsoft.com/office/drawing/2014/main" id="{EE66DC80-F68A-491B-B1A5-1EADAFF76598}"/>
              </a:ext>
            </a:extLst>
          </p:cNvPr>
          <p:cNvSpPr/>
          <p:nvPr/>
        </p:nvSpPr>
        <p:spPr bwMode="gray">
          <a:xfrm flipH="1">
            <a:off x="6512938" y="1710297"/>
            <a:ext cx="2133600" cy="464893"/>
          </a:xfrm>
          <a:custGeom>
            <a:avLst/>
            <a:gdLst>
              <a:gd name="connsiteX0" fmla="*/ 1575303 w 1575303"/>
              <a:gd name="connsiteY0" fmla="*/ 1403288 h 1403288"/>
              <a:gd name="connsiteX1" fmla="*/ 1575303 w 1575303"/>
              <a:gd name="connsiteY1" fmla="*/ 0 h 1403288"/>
              <a:gd name="connsiteX2" fmla="*/ 0 w 1575303"/>
              <a:gd name="connsiteY2" fmla="*/ 0 h 140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75303" h="1403288">
                <a:moveTo>
                  <a:pt x="1575303" y="1403288"/>
                </a:moveTo>
                <a:lnTo>
                  <a:pt x="1575303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52" name="Freeform 42">
            <a:extLst>
              <a:ext uri="{FF2B5EF4-FFF2-40B4-BE49-F238E27FC236}">
                <a16:creationId xmlns:a16="http://schemas.microsoft.com/office/drawing/2014/main" id="{231A8E59-D9D4-45B2-BB5B-10A9A87F36DB}"/>
              </a:ext>
            </a:extLst>
          </p:cNvPr>
          <p:cNvSpPr/>
          <p:nvPr/>
        </p:nvSpPr>
        <p:spPr bwMode="gray">
          <a:xfrm>
            <a:off x="3671282" y="1710297"/>
            <a:ext cx="1575303" cy="1334189"/>
          </a:xfrm>
          <a:custGeom>
            <a:avLst/>
            <a:gdLst>
              <a:gd name="connsiteX0" fmla="*/ 1575303 w 1575303"/>
              <a:gd name="connsiteY0" fmla="*/ 1403288 h 1403288"/>
              <a:gd name="connsiteX1" fmla="*/ 1575303 w 1575303"/>
              <a:gd name="connsiteY1" fmla="*/ 0 h 1403288"/>
              <a:gd name="connsiteX2" fmla="*/ 0 w 1575303"/>
              <a:gd name="connsiteY2" fmla="*/ 0 h 140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75303" h="1403288">
                <a:moveTo>
                  <a:pt x="1575303" y="1403288"/>
                </a:moveTo>
                <a:lnTo>
                  <a:pt x="1575303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53" name="Freeform 43">
            <a:extLst>
              <a:ext uri="{FF2B5EF4-FFF2-40B4-BE49-F238E27FC236}">
                <a16:creationId xmlns:a16="http://schemas.microsoft.com/office/drawing/2014/main" id="{34C179D8-2732-4EDA-B018-E1D01ECC06A7}"/>
              </a:ext>
            </a:extLst>
          </p:cNvPr>
          <p:cNvSpPr/>
          <p:nvPr/>
        </p:nvSpPr>
        <p:spPr bwMode="gray">
          <a:xfrm rot="10800000">
            <a:off x="7398761" y="4340227"/>
            <a:ext cx="1247775" cy="867155"/>
          </a:xfrm>
          <a:custGeom>
            <a:avLst/>
            <a:gdLst>
              <a:gd name="connsiteX0" fmla="*/ 1575303 w 1575303"/>
              <a:gd name="connsiteY0" fmla="*/ 1403288 h 1403288"/>
              <a:gd name="connsiteX1" fmla="*/ 1575303 w 1575303"/>
              <a:gd name="connsiteY1" fmla="*/ 0 h 1403288"/>
              <a:gd name="connsiteX2" fmla="*/ 0 w 1575303"/>
              <a:gd name="connsiteY2" fmla="*/ 0 h 140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75303" h="1403288">
                <a:moveTo>
                  <a:pt x="1575303" y="1403288"/>
                </a:moveTo>
                <a:lnTo>
                  <a:pt x="1575303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54" name="Freeform 44">
            <a:extLst>
              <a:ext uri="{FF2B5EF4-FFF2-40B4-BE49-F238E27FC236}">
                <a16:creationId xmlns:a16="http://schemas.microsoft.com/office/drawing/2014/main" id="{DC532145-4265-4F0E-8C16-668D759A3B14}"/>
              </a:ext>
            </a:extLst>
          </p:cNvPr>
          <p:cNvSpPr/>
          <p:nvPr/>
        </p:nvSpPr>
        <p:spPr bwMode="gray">
          <a:xfrm rot="16200000">
            <a:off x="4243242" y="3874755"/>
            <a:ext cx="528931" cy="2110934"/>
          </a:xfrm>
          <a:custGeom>
            <a:avLst/>
            <a:gdLst>
              <a:gd name="connsiteX0" fmla="*/ 1575303 w 1575303"/>
              <a:gd name="connsiteY0" fmla="*/ 1403288 h 1403288"/>
              <a:gd name="connsiteX1" fmla="*/ 1575303 w 1575303"/>
              <a:gd name="connsiteY1" fmla="*/ 0 h 1403288"/>
              <a:gd name="connsiteX2" fmla="*/ 0 w 1575303"/>
              <a:gd name="connsiteY2" fmla="*/ 0 h 140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75303" h="1403288">
                <a:moveTo>
                  <a:pt x="1575303" y="1403288"/>
                </a:moveTo>
                <a:lnTo>
                  <a:pt x="1575303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55" name="Freeform 16">
            <a:extLst>
              <a:ext uri="{FF2B5EF4-FFF2-40B4-BE49-F238E27FC236}">
                <a16:creationId xmlns:a16="http://schemas.microsoft.com/office/drawing/2014/main" id="{AD1892B3-2347-42CC-B17C-2235D4E1DEC6}"/>
              </a:ext>
            </a:extLst>
          </p:cNvPr>
          <p:cNvSpPr>
            <a:spLocks noChangeAspect="1"/>
          </p:cNvSpPr>
          <p:nvPr/>
        </p:nvSpPr>
        <p:spPr bwMode="auto">
          <a:xfrm rot="18900000">
            <a:off x="3780426" y="1890589"/>
            <a:ext cx="437695" cy="434745"/>
          </a:xfrm>
          <a:custGeom>
            <a:avLst/>
            <a:gdLst>
              <a:gd name="T0" fmla="*/ 212 w 212"/>
              <a:gd name="T1" fmla="*/ 105 h 210"/>
              <a:gd name="T2" fmla="*/ 212 w 212"/>
              <a:gd name="T3" fmla="*/ 105 h 210"/>
              <a:gd name="T4" fmla="*/ 212 w 212"/>
              <a:gd name="T5" fmla="*/ 105 h 210"/>
              <a:gd name="T6" fmla="*/ 212 w 212"/>
              <a:gd name="T7" fmla="*/ 105 h 210"/>
              <a:gd name="T8" fmla="*/ 198 w 212"/>
              <a:gd name="T9" fmla="*/ 97 h 210"/>
              <a:gd name="T10" fmla="*/ 153 w 212"/>
              <a:gd name="T11" fmla="*/ 93 h 210"/>
              <a:gd name="T12" fmla="*/ 140 w 212"/>
              <a:gd name="T13" fmla="*/ 77 h 210"/>
              <a:gd name="T14" fmla="*/ 146 w 212"/>
              <a:gd name="T15" fmla="*/ 70 h 210"/>
              <a:gd name="T16" fmla="*/ 140 w 212"/>
              <a:gd name="T17" fmla="*/ 64 h 210"/>
              <a:gd name="T18" fmla="*/ 139 w 212"/>
              <a:gd name="T19" fmla="*/ 64 h 210"/>
              <a:gd name="T20" fmla="*/ 139 w 212"/>
              <a:gd name="T21" fmla="*/ 64 h 210"/>
              <a:gd name="T22" fmla="*/ 131 w 212"/>
              <a:gd name="T23" fmla="*/ 64 h 210"/>
              <a:gd name="T24" fmla="*/ 117 w 212"/>
              <a:gd name="T25" fmla="*/ 45 h 210"/>
              <a:gd name="T26" fmla="*/ 117 w 212"/>
              <a:gd name="T27" fmla="*/ 45 h 210"/>
              <a:gd name="T28" fmla="*/ 123 w 212"/>
              <a:gd name="T29" fmla="*/ 39 h 210"/>
              <a:gd name="T30" fmla="*/ 118 w 212"/>
              <a:gd name="T31" fmla="*/ 33 h 210"/>
              <a:gd name="T32" fmla="*/ 118 w 212"/>
              <a:gd name="T33" fmla="*/ 33 h 210"/>
              <a:gd name="T34" fmla="*/ 108 w 212"/>
              <a:gd name="T35" fmla="*/ 33 h 210"/>
              <a:gd name="T36" fmla="*/ 101 w 212"/>
              <a:gd name="T37" fmla="*/ 24 h 210"/>
              <a:gd name="T38" fmla="*/ 89 w 212"/>
              <a:gd name="T39" fmla="*/ 7 h 210"/>
              <a:gd name="T40" fmla="*/ 77 w 212"/>
              <a:gd name="T41" fmla="*/ 0 h 210"/>
              <a:gd name="T42" fmla="*/ 67 w 212"/>
              <a:gd name="T43" fmla="*/ 0 h 210"/>
              <a:gd name="T44" fmla="*/ 86 w 212"/>
              <a:gd name="T45" fmla="*/ 45 h 210"/>
              <a:gd name="T46" fmla="*/ 94 w 212"/>
              <a:gd name="T47" fmla="*/ 64 h 210"/>
              <a:gd name="T48" fmla="*/ 98 w 212"/>
              <a:gd name="T49" fmla="*/ 85 h 210"/>
              <a:gd name="T50" fmla="*/ 80 w 212"/>
              <a:gd name="T51" fmla="*/ 95 h 210"/>
              <a:gd name="T52" fmla="*/ 36 w 212"/>
              <a:gd name="T53" fmla="*/ 97 h 210"/>
              <a:gd name="T54" fmla="*/ 14 w 212"/>
              <a:gd name="T55" fmla="*/ 69 h 210"/>
              <a:gd name="T56" fmla="*/ 0 w 212"/>
              <a:gd name="T57" fmla="*/ 67 h 210"/>
              <a:gd name="T58" fmla="*/ 9 w 212"/>
              <a:gd name="T59" fmla="*/ 101 h 210"/>
              <a:gd name="T60" fmla="*/ 8 w 212"/>
              <a:gd name="T61" fmla="*/ 101 h 210"/>
              <a:gd name="T62" fmla="*/ 4 w 212"/>
              <a:gd name="T63" fmla="*/ 105 h 210"/>
              <a:gd name="T64" fmla="*/ 8 w 212"/>
              <a:gd name="T65" fmla="*/ 110 h 210"/>
              <a:gd name="T66" fmla="*/ 9 w 212"/>
              <a:gd name="T67" fmla="*/ 110 h 210"/>
              <a:gd name="T68" fmla="*/ 0 w 212"/>
              <a:gd name="T69" fmla="*/ 143 h 210"/>
              <a:gd name="T70" fmla="*/ 14 w 212"/>
              <a:gd name="T71" fmla="*/ 141 h 210"/>
              <a:gd name="T72" fmla="*/ 36 w 212"/>
              <a:gd name="T73" fmla="*/ 112 h 210"/>
              <a:gd name="T74" fmla="*/ 80 w 212"/>
              <a:gd name="T75" fmla="*/ 114 h 210"/>
              <a:gd name="T76" fmla="*/ 98 w 212"/>
              <a:gd name="T77" fmla="*/ 124 h 210"/>
              <a:gd name="T78" fmla="*/ 94 w 212"/>
              <a:gd name="T79" fmla="*/ 145 h 210"/>
              <a:gd name="T80" fmla="*/ 86 w 212"/>
              <a:gd name="T81" fmla="*/ 165 h 210"/>
              <a:gd name="T82" fmla="*/ 67 w 212"/>
              <a:gd name="T83" fmla="*/ 210 h 210"/>
              <a:gd name="T84" fmla="*/ 77 w 212"/>
              <a:gd name="T85" fmla="*/ 210 h 210"/>
              <a:gd name="T86" fmla="*/ 89 w 212"/>
              <a:gd name="T87" fmla="*/ 202 h 210"/>
              <a:gd name="T88" fmla="*/ 101 w 212"/>
              <a:gd name="T89" fmla="*/ 186 h 210"/>
              <a:gd name="T90" fmla="*/ 108 w 212"/>
              <a:gd name="T91" fmla="*/ 177 h 210"/>
              <a:gd name="T92" fmla="*/ 118 w 212"/>
              <a:gd name="T93" fmla="*/ 177 h 210"/>
              <a:gd name="T94" fmla="*/ 118 w 212"/>
              <a:gd name="T95" fmla="*/ 177 h 210"/>
              <a:gd name="T96" fmla="*/ 123 w 212"/>
              <a:gd name="T97" fmla="*/ 171 h 210"/>
              <a:gd name="T98" fmla="*/ 117 w 212"/>
              <a:gd name="T99" fmla="*/ 165 h 210"/>
              <a:gd name="T100" fmla="*/ 117 w 212"/>
              <a:gd name="T101" fmla="*/ 165 h 210"/>
              <a:gd name="T102" fmla="*/ 131 w 212"/>
              <a:gd name="T103" fmla="*/ 145 h 210"/>
              <a:gd name="T104" fmla="*/ 141 w 212"/>
              <a:gd name="T105" fmla="*/ 145 h 210"/>
              <a:gd name="T106" fmla="*/ 141 w 212"/>
              <a:gd name="T107" fmla="*/ 145 h 210"/>
              <a:gd name="T108" fmla="*/ 146 w 212"/>
              <a:gd name="T109" fmla="*/ 139 h 210"/>
              <a:gd name="T110" fmla="*/ 140 w 212"/>
              <a:gd name="T111" fmla="*/ 133 h 210"/>
              <a:gd name="T112" fmla="*/ 153 w 212"/>
              <a:gd name="T113" fmla="*/ 116 h 210"/>
              <a:gd name="T114" fmla="*/ 198 w 212"/>
              <a:gd name="T115" fmla="*/ 112 h 210"/>
              <a:gd name="T116" fmla="*/ 212 w 212"/>
              <a:gd name="T117" fmla="*/ 105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2" h="210">
                <a:moveTo>
                  <a:pt x="212" y="105"/>
                </a:moveTo>
                <a:cubicBezTo>
                  <a:pt x="212" y="105"/>
                  <a:pt x="212" y="105"/>
                  <a:pt x="212" y="105"/>
                </a:cubicBezTo>
                <a:cubicBezTo>
                  <a:pt x="212" y="105"/>
                  <a:pt x="212" y="105"/>
                  <a:pt x="212" y="105"/>
                </a:cubicBezTo>
                <a:cubicBezTo>
                  <a:pt x="212" y="105"/>
                  <a:pt x="212" y="105"/>
                  <a:pt x="212" y="105"/>
                </a:cubicBezTo>
                <a:cubicBezTo>
                  <a:pt x="212" y="102"/>
                  <a:pt x="207" y="99"/>
                  <a:pt x="198" y="97"/>
                </a:cubicBezTo>
                <a:cubicBezTo>
                  <a:pt x="189" y="95"/>
                  <a:pt x="174" y="94"/>
                  <a:pt x="153" y="93"/>
                </a:cubicBezTo>
                <a:cubicBezTo>
                  <a:pt x="149" y="89"/>
                  <a:pt x="145" y="83"/>
                  <a:pt x="140" y="77"/>
                </a:cubicBezTo>
                <a:cubicBezTo>
                  <a:pt x="143" y="76"/>
                  <a:pt x="146" y="74"/>
                  <a:pt x="146" y="70"/>
                </a:cubicBezTo>
                <a:cubicBezTo>
                  <a:pt x="146" y="67"/>
                  <a:pt x="143" y="64"/>
                  <a:pt x="140" y="64"/>
                </a:cubicBezTo>
                <a:cubicBezTo>
                  <a:pt x="140" y="64"/>
                  <a:pt x="139" y="64"/>
                  <a:pt x="139" y="64"/>
                </a:cubicBezTo>
                <a:cubicBezTo>
                  <a:pt x="139" y="64"/>
                  <a:pt x="139" y="64"/>
                  <a:pt x="139" y="64"/>
                </a:cubicBezTo>
                <a:cubicBezTo>
                  <a:pt x="131" y="64"/>
                  <a:pt x="131" y="64"/>
                  <a:pt x="131" y="64"/>
                </a:cubicBezTo>
                <a:cubicBezTo>
                  <a:pt x="117" y="45"/>
                  <a:pt x="117" y="45"/>
                  <a:pt x="117" y="45"/>
                </a:cubicBezTo>
                <a:cubicBezTo>
                  <a:pt x="117" y="45"/>
                  <a:pt x="117" y="45"/>
                  <a:pt x="117" y="45"/>
                </a:cubicBezTo>
                <a:cubicBezTo>
                  <a:pt x="121" y="45"/>
                  <a:pt x="123" y="42"/>
                  <a:pt x="123" y="39"/>
                </a:cubicBezTo>
                <a:cubicBezTo>
                  <a:pt x="123" y="36"/>
                  <a:pt x="121" y="33"/>
                  <a:pt x="118" y="33"/>
                </a:cubicBezTo>
                <a:cubicBezTo>
                  <a:pt x="118" y="33"/>
                  <a:pt x="118" y="33"/>
                  <a:pt x="118" y="33"/>
                </a:cubicBezTo>
                <a:cubicBezTo>
                  <a:pt x="108" y="33"/>
                  <a:pt x="108" y="33"/>
                  <a:pt x="108" y="33"/>
                </a:cubicBezTo>
                <a:cubicBezTo>
                  <a:pt x="101" y="24"/>
                  <a:pt x="101" y="24"/>
                  <a:pt x="101" y="24"/>
                </a:cubicBezTo>
                <a:cubicBezTo>
                  <a:pt x="97" y="18"/>
                  <a:pt x="93" y="13"/>
                  <a:pt x="89" y="7"/>
                </a:cubicBezTo>
                <a:cubicBezTo>
                  <a:pt x="85" y="2"/>
                  <a:pt x="81" y="0"/>
                  <a:pt x="7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72" y="13"/>
                  <a:pt x="79" y="28"/>
                  <a:pt x="86" y="45"/>
                </a:cubicBezTo>
                <a:cubicBezTo>
                  <a:pt x="88" y="51"/>
                  <a:pt x="91" y="58"/>
                  <a:pt x="94" y="64"/>
                </a:cubicBezTo>
                <a:cubicBezTo>
                  <a:pt x="97" y="73"/>
                  <a:pt x="98" y="80"/>
                  <a:pt x="98" y="85"/>
                </a:cubicBezTo>
                <a:cubicBezTo>
                  <a:pt x="98" y="92"/>
                  <a:pt x="92" y="95"/>
                  <a:pt x="80" y="95"/>
                </a:cubicBezTo>
                <a:cubicBezTo>
                  <a:pt x="36" y="97"/>
                  <a:pt x="36" y="97"/>
                  <a:pt x="36" y="97"/>
                </a:cubicBezTo>
                <a:cubicBezTo>
                  <a:pt x="14" y="69"/>
                  <a:pt x="14" y="69"/>
                  <a:pt x="14" y="69"/>
                </a:cubicBezTo>
                <a:cubicBezTo>
                  <a:pt x="12" y="69"/>
                  <a:pt x="8" y="68"/>
                  <a:pt x="0" y="67"/>
                </a:cubicBezTo>
                <a:cubicBezTo>
                  <a:pt x="9" y="101"/>
                  <a:pt x="9" y="101"/>
                  <a:pt x="9" y="101"/>
                </a:cubicBezTo>
                <a:cubicBezTo>
                  <a:pt x="9" y="101"/>
                  <a:pt x="8" y="101"/>
                  <a:pt x="8" y="101"/>
                </a:cubicBezTo>
                <a:cubicBezTo>
                  <a:pt x="6" y="101"/>
                  <a:pt x="4" y="103"/>
                  <a:pt x="4" y="105"/>
                </a:cubicBezTo>
                <a:cubicBezTo>
                  <a:pt x="4" y="108"/>
                  <a:pt x="6" y="110"/>
                  <a:pt x="8" y="110"/>
                </a:cubicBezTo>
                <a:cubicBezTo>
                  <a:pt x="8" y="110"/>
                  <a:pt x="8" y="110"/>
                  <a:pt x="9" y="110"/>
                </a:cubicBezTo>
                <a:cubicBezTo>
                  <a:pt x="0" y="143"/>
                  <a:pt x="0" y="143"/>
                  <a:pt x="0" y="143"/>
                </a:cubicBezTo>
                <a:cubicBezTo>
                  <a:pt x="8" y="142"/>
                  <a:pt x="12" y="141"/>
                  <a:pt x="14" y="141"/>
                </a:cubicBezTo>
                <a:cubicBezTo>
                  <a:pt x="36" y="112"/>
                  <a:pt x="36" y="112"/>
                  <a:pt x="36" y="112"/>
                </a:cubicBezTo>
                <a:cubicBezTo>
                  <a:pt x="80" y="114"/>
                  <a:pt x="80" y="114"/>
                  <a:pt x="80" y="114"/>
                </a:cubicBezTo>
                <a:cubicBezTo>
                  <a:pt x="92" y="114"/>
                  <a:pt x="98" y="118"/>
                  <a:pt x="98" y="124"/>
                </a:cubicBezTo>
                <a:cubicBezTo>
                  <a:pt x="98" y="130"/>
                  <a:pt x="97" y="137"/>
                  <a:pt x="94" y="145"/>
                </a:cubicBezTo>
                <a:cubicBezTo>
                  <a:pt x="91" y="152"/>
                  <a:pt x="88" y="158"/>
                  <a:pt x="86" y="165"/>
                </a:cubicBezTo>
                <a:cubicBezTo>
                  <a:pt x="79" y="182"/>
                  <a:pt x="72" y="197"/>
                  <a:pt x="67" y="210"/>
                </a:cubicBezTo>
                <a:cubicBezTo>
                  <a:pt x="77" y="210"/>
                  <a:pt x="77" y="210"/>
                  <a:pt x="77" y="210"/>
                </a:cubicBezTo>
                <a:cubicBezTo>
                  <a:pt x="81" y="210"/>
                  <a:pt x="85" y="207"/>
                  <a:pt x="89" y="202"/>
                </a:cubicBezTo>
                <a:cubicBezTo>
                  <a:pt x="93" y="197"/>
                  <a:pt x="97" y="192"/>
                  <a:pt x="101" y="186"/>
                </a:cubicBezTo>
                <a:cubicBezTo>
                  <a:pt x="108" y="177"/>
                  <a:pt x="108" y="177"/>
                  <a:pt x="108" y="177"/>
                </a:cubicBezTo>
                <a:cubicBezTo>
                  <a:pt x="118" y="177"/>
                  <a:pt x="118" y="177"/>
                  <a:pt x="118" y="177"/>
                </a:cubicBezTo>
                <a:cubicBezTo>
                  <a:pt x="118" y="177"/>
                  <a:pt x="118" y="177"/>
                  <a:pt x="118" y="177"/>
                </a:cubicBezTo>
                <a:cubicBezTo>
                  <a:pt x="121" y="177"/>
                  <a:pt x="123" y="174"/>
                  <a:pt x="123" y="171"/>
                </a:cubicBezTo>
                <a:cubicBezTo>
                  <a:pt x="123" y="167"/>
                  <a:pt x="121" y="165"/>
                  <a:pt x="117" y="165"/>
                </a:cubicBezTo>
                <a:cubicBezTo>
                  <a:pt x="117" y="165"/>
                  <a:pt x="117" y="165"/>
                  <a:pt x="117" y="165"/>
                </a:cubicBezTo>
                <a:cubicBezTo>
                  <a:pt x="131" y="145"/>
                  <a:pt x="131" y="145"/>
                  <a:pt x="131" y="145"/>
                </a:cubicBezTo>
                <a:cubicBezTo>
                  <a:pt x="141" y="145"/>
                  <a:pt x="141" y="145"/>
                  <a:pt x="141" y="145"/>
                </a:cubicBezTo>
                <a:cubicBezTo>
                  <a:pt x="141" y="145"/>
                  <a:pt x="141" y="145"/>
                  <a:pt x="141" y="145"/>
                </a:cubicBezTo>
                <a:cubicBezTo>
                  <a:pt x="144" y="145"/>
                  <a:pt x="146" y="142"/>
                  <a:pt x="146" y="139"/>
                </a:cubicBezTo>
                <a:cubicBezTo>
                  <a:pt x="146" y="136"/>
                  <a:pt x="143" y="133"/>
                  <a:pt x="140" y="133"/>
                </a:cubicBezTo>
                <a:cubicBezTo>
                  <a:pt x="145" y="127"/>
                  <a:pt x="149" y="121"/>
                  <a:pt x="153" y="116"/>
                </a:cubicBezTo>
                <a:cubicBezTo>
                  <a:pt x="174" y="116"/>
                  <a:pt x="189" y="115"/>
                  <a:pt x="198" y="112"/>
                </a:cubicBezTo>
                <a:cubicBezTo>
                  <a:pt x="207" y="110"/>
                  <a:pt x="212" y="108"/>
                  <a:pt x="212" y="10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31">
            <a:extLst>
              <a:ext uri="{FF2B5EF4-FFF2-40B4-BE49-F238E27FC236}">
                <a16:creationId xmlns:a16="http://schemas.microsoft.com/office/drawing/2014/main" id="{FAD45E71-6092-48EC-880C-92E8242E9D5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3020" y="1934044"/>
            <a:ext cx="306956" cy="395540"/>
          </a:xfrm>
          <a:custGeom>
            <a:avLst/>
            <a:gdLst>
              <a:gd name="T0" fmla="*/ 12 w 140"/>
              <a:gd name="T1" fmla="*/ 35 h 180"/>
              <a:gd name="T2" fmla="*/ 35 w 140"/>
              <a:gd name="T3" fmla="*/ 12 h 180"/>
              <a:gd name="T4" fmla="*/ 34 w 140"/>
              <a:gd name="T5" fmla="*/ 5 h 180"/>
              <a:gd name="T6" fmla="*/ 32 w 140"/>
              <a:gd name="T7" fmla="*/ 2 h 180"/>
              <a:gd name="T8" fmla="*/ 25 w 140"/>
              <a:gd name="T9" fmla="*/ 2 h 180"/>
              <a:gd name="T10" fmla="*/ 2 w 140"/>
              <a:gd name="T11" fmla="*/ 26 h 180"/>
              <a:gd name="T12" fmla="*/ 2 w 140"/>
              <a:gd name="T13" fmla="*/ 33 h 180"/>
              <a:gd name="T14" fmla="*/ 5 w 140"/>
              <a:gd name="T15" fmla="*/ 35 h 180"/>
              <a:gd name="T16" fmla="*/ 12 w 140"/>
              <a:gd name="T17" fmla="*/ 35 h 180"/>
              <a:gd name="T18" fmla="*/ 134 w 140"/>
              <a:gd name="T19" fmla="*/ 1 h 180"/>
              <a:gd name="T20" fmla="*/ 62 w 140"/>
              <a:gd name="T21" fmla="*/ 1 h 180"/>
              <a:gd name="T22" fmla="*/ 51 w 140"/>
              <a:gd name="T23" fmla="*/ 5 h 180"/>
              <a:gd name="T24" fmla="*/ 11 w 140"/>
              <a:gd name="T25" fmla="*/ 47 h 180"/>
              <a:gd name="T26" fmla="*/ 6 w 140"/>
              <a:gd name="T27" fmla="*/ 58 h 180"/>
              <a:gd name="T28" fmla="*/ 6 w 140"/>
              <a:gd name="T29" fmla="*/ 174 h 180"/>
              <a:gd name="T30" fmla="*/ 12 w 140"/>
              <a:gd name="T31" fmla="*/ 180 h 180"/>
              <a:gd name="T32" fmla="*/ 134 w 140"/>
              <a:gd name="T33" fmla="*/ 180 h 180"/>
              <a:gd name="T34" fmla="*/ 140 w 140"/>
              <a:gd name="T35" fmla="*/ 174 h 180"/>
              <a:gd name="T36" fmla="*/ 140 w 140"/>
              <a:gd name="T37" fmla="*/ 7 h 180"/>
              <a:gd name="T38" fmla="*/ 134 w 140"/>
              <a:gd name="T39" fmla="*/ 1 h 180"/>
              <a:gd name="T40" fmla="*/ 74 w 140"/>
              <a:gd name="T41" fmla="*/ 147 h 180"/>
              <a:gd name="T42" fmla="*/ 53 w 140"/>
              <a:gd name="T43" fmla="*/ 126 h 180"/>
              <a:gd name="T44" fmla="*/ 54 w 140"/>
              <a:gd name="T45" fmla="*/ 119 h 180"/>
              <a:gd name="T46" fmla="*/ 54 w 140"/>
              <a:gd name="T47" fmla="*/ 119 h 180"/>
              <a:gd name="T48" fmla="*/ 59 w 140"/>
              <a:gd name="T49" fmla="*/ 105 h 180"/>
              <a:gd name="T50" fmla="*/ 74 w 140"/>
              <a:gd name="T51" fmla="*/ 80 h 180"/>
              <a:gd name="T52" fmla="*/ 89 w 140"/>
              <a:gd name="T53" fmla="*/ 105 h 180"/>
              <a:gd name="T54" fmla="*/ 94 w 140"/>
              <a:gd name="T55" fmla="*/ 119 h 180"/>
              <a:gd name="T56" fmla="*/ 94 w 140"/>
              <a:gd name="T57" fmla="*/ 119 h 180"/>
              <a:gd name="T58" fmla="*/ 96 w 140"/>
              <a:gd name="T59" fmla="*/ 126 h 180"/>
              <a:gd name="T60" fmla="*/ 74 w 140"/>
              <a:gd name="T61" fmla="*/ 147 h 180"/>
              <a:gd name="T62" fmla="*/ 124 w 140"/>
              <a:gd name="T63" fmla="*/ 30 h 180"/>
              <a:gd name="T64" fmla="*/ 118 w 140"/>
              <a:gd name="T65" fmla="*/ 37 h 180"/>
              <a:gd name="T66" fmla="*/ 72 w 140"/>
              <a:gd name="T67" fmla="*/ 37 h 180"/>
              <a:gd name="T68" fmla="*/ 65 w 140"/>
              <a:gd name="T69" fmla="*/ 30 h 180"/>
              <a:gd name="T70" fmla="*/ 65 w 140"/>
              <a:gd name="T71" fmla="*/ 22 h 180"/>
              <a:gd name="T72" fmla="*/ 72 w 140"/>
              <a:gd name="T73" fmla="*/ 16 h 180"/>
              <a:gd name="T74" fmla="*/ 118 w 140"/>
              <a:gd name="T75" fmla="*/ 16 h 180"/>
              <a:gd name="T76" fmla="*/ 124 w 140"/>
              <a:gd name="T77" fmla="*/ 22 h 180"/>
              <a:gd name="T78" fmla="*/ 124 w 140"/>
              <a:gd name="T79" fmla="*/ 30 h 180"/>
              <a:gd name="T80" fmla="*/ 85 w 140"/>
              <a:gd name="T81" fmla="*/ 116 h 180"/>
              <a:gd name="T82" fmla="*/ 80 w 140"/>
              <a:gd name="T83" fmla="*/ 126 h 180"/>
              <a:gd name="T84" fmla="*/ 85 w 140"/>
              <a:gd name="T85" fmla="*/ 136 h 180"/>
              <a:gd name="T86" fmla="*/ 89 w 140"/>
              <a:gd name="T87" fmla="*/ 126 h 180"/>
              <a:gd name="T88" fmla="*/ 85 w 140"/>
              <a:gd name="T89" fmla="*/ 116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40" h="180">
                <a:moveTo>
                  <a:pt x="12" y="35"/>
                </a:moveTo>
                <a:cubicBezTo>
                  <a:pt x="35" y="12"/>
                  <a:pt x="35" y="12"/>
                  <a:pt x="35" y="12"/>
                </a:cubicBezTo>
                <a:cubicBezTo>
                  <a:pt x="36" y="10"/>
                  <a:pt x="36" y="7"/>
                  <a:pt x="34" y="5"/>
                </a:cubicBezTo>
                <a:cubicBezTo>
                  <a:pt x="32" y="2"/>
                  <a:pt x="32" y="2"/>
                  <a:pt x="32" y="2"/>
                </a:cubicBezTo>
                <a:cubicBezTo>
                  <a:pt x="30" y="0"/>
                  <a:pt x="27" y="0"/>
                  <a:pt x="25" y="2"/>
                </a:cubicBezTo>
                <a:cubicBezTo>
                  <a:pt x="2" y="26"/>
                  <a:pt x="2" y="26"/>
                  <a:pt x="2" y="26"/>
                </a:cubicBezTo>
                <a:cubicBezTo>
                  <a:pt x="0" y="28"/>
                  <a:pt x="0" y="31"/>
                  <a:pt x="2" y="33"/>
                </a:cubicBezTo>
                <a:cubicBezTo>
                  <a:pt x="5" y="35"/>
                  <a:pt x="5" y="35"/>
                  <a:pt x="5" y="35"/>
                </a:cubicBezTo>
                <a:cubicBezTo>
                  <a:pt x="7" y="37"/>
                  <a:pt x="10" y="37"/>
                  <a:pt x="12" y="35"/>
                </a:cubicBezTo>
                <a:close/>
                <a:moveTo>
                  <a:pt x="134" y="1"/>
                </a:moveTo>
                <a:cubicBezTo>
                  <a:pt x="62" y="1"/>
                  <a:pt x="62" y="1"/>
                  <a:pt x="62" y="1"/>
                </a:cubicBezTo>
                <a:cubicBezTo>
                  <a:pt x="58" y="1"/>
                  <a:pt x="54" y="3"/>
                  <a:pt x="51" y="5"/>
                </a:cubicBezTo>
                <a:cubicBezTo>
                  <a:pt x="11" y="47"/>
                  <a:pt x="11" y="47"/>
                  <a:pt x="11" y="47"/>
                </a:cubicBezTo>
                <a:cubicBezTo>
                  <a:pt x="8" y="50"/>
                  <a:pt x="6" y="54"/>
                  <a:pt x="6" y="58"/>
                </a:cubicBezTo>
                <a:cubicBezTo>
                  <a:pt x="6" y="174"/>
                  <a:pt x="6" y="174"/>
                  <a:pt x="6" y="174"/>
                </a:cubicBezTo>
                <a:cubicBezTo>
                  <a:pt x="6" y="177"/>
                  <a:pt x="9" y="180"/>
                  <a:pt x="12" y="180"/>
                </a:cubicBezTo>
                <a:cubicBezTo>
                  <a:pt x="134" y="180"/>
                  <a:pt x="134" y="180"/>
                  <a:pt x="134" y="180"/>
                </a:cubicBezTo>
                <a:cubicBezTo>
                  <a:pt x="137" y="180"/>
                  <a:pt x="140" y="177"/>
                  <a:pt x="140" y="174"/>
                </a:cubicBezTo>
                <a:cubicBezTo>
                  <a:pt x="140" y="7"/>
                  <a:pt x="140" y="7"/>
                  <a:pt x="140" y="7"/>
                </a:cubicBezTo>
                <a:cubicBezTo>
                  <a:pt x="140" y="4"/>
                  <a:pt x="137" y="1"/>
                  <a:pt x="134" y="1"/>
                </a:cubicBezTo>
                <a:close/>
                <a:moveTo>
                  <a:pt x="74" y="147"/>
                </a:moveTo>
                <a:cubicBezTo>
                  <a:pt x="62" y="147"/>
                  <a:pt x="53" y="137"/>
                  <a:pt x="53" y="126"/>
                </a:cubicBezTo>
                <a:cubicBezTo>
                  <a:pt x="53" y="123"/>
                  <a:pt x="53" y="121"/>
                  <a:pt x="54" y="119"/>
                </a:cubicBezTo>
                <a:cubicBezTo>
                  <a:pt x="54" y="119"/>
                  <a:pt x="54" y="119"/>
                  <a:pt x="54" y="119"/>
                </a:cubicBezTo>
                <a:cubicBezTo>
                  <a:pt x="55" y="114"/>
                  <a:pt x="57" y="110"/>
                  <a:pt x="59" y="105"/>
                </a:cubicBezTo>
                <a:cubicBezTo>
                  <a:pt x="64" y="94"/>
                  <a:pt x="69" y="86"/>
                  <a:pt x="74" y="80"/>
                </a:cubicBezTo>
                <a:cubicBezTo>
                  <a:pt x="79" y="86"/>
                  <a:pt x="84" y="94"/>
                  <a:pt x="89" y="105"/>
                </a:cubicBezTo>
                <a:cubicBezTo>
                  <a:pt x="91" y="110"/>
                  <a:pt x="93" y="114"/>
                  <a:pt x="94" y="119"/>
                </a:cubicBezTo>
                <a:cubicBezTo>
                  <a:pt x="94" y="119"/>
                  <a:pt x="94" y="119"/>
                  <a:pt x="94" y="119"/>
                </a:cubicBezTo>
                <a:cubicBezTo>
                  <a:pt x="95" y="121"/>
                  <a:pt x="96" y="123"/>
                  <a:pt x="96" y="126"/>
                </a:cubicBezTo>
                <a:cubicBezTo>
                  <a:pt x="96" y="137"/>
                  <a:pt x="86" y="147"/>
                  <a:pt x="74" y="147"/>
                </a:cubicBezTo>
                <a:close/>
                <a:moveTo>
                  <a:pt x="124" y="30"/>
                </a:moveTo>
                <a:cubicBezTo>
                  <a:pt x="124" y="34"/>
                  <a:pt x="122" y="37"/>
                  <a:pt x="118" y="37"/>
                </a:cubicBezTo>
                <a:cubicBezTo>
                  <a:pt x="72" y="37"/>
                  <a:pt x="72" y="37"/>
                  <a:pt x="72" y="37"/>
                </a:cubicBezTo>
                <a:cubicBezTo>
                  <a:pt x="68" y="37"/>
                  <a:pt x="65" y="34"/>
                  <a:pt x="65" y="30"/>
                </a:cubicBezTo>
                <a:cubicBezTo>
                  <a:pt x="65" y="22"/>
                  <a:pt x="65" y="22"/>
                  <a:pt x="65" y="22"/>
                </a:cubicBezTo>
                <a:cubicBezTo>
                  <a:pt x="65" y="19"/>
                  <a:pt x="68" y="16"/>
                  <a:pt x="72" y="16"/>
                </a:cubicBezTo>
                <a:cubicBezTo>
                  <a:pt x="118" y="16"/>
                  <a:pt x="118" y="16"/>
                  <a:pt x="118" y="16"/>
                </a:cubicBezTo>
                <a:cubicBezTo>
                  <a:pt x="122" y="16"/>
                  <a:pt x="124" y="19"/>
                  <a:pt x="124" y="22"/>
                </a:cubicBezTo>
                <a:lnTo>
                  <a:pt x="124" y="30"/>
                </a:lnTo>
                <a:close/>
                <a:moveTo>
                  <a:pt x="85" y="116"/>
                </a:moveTo>
                <a:cubicBezTo>
                  <a:pt x="82" y="116"/>
                  <a:pt x="80" y="120"/>
                  <a:pt x="80" y="126"/>
                </a:cubicBezTo>
                <a:cubicBezTo>
                  <a:pt x="80" y="131"/>
                  <a:pt x="82" y="136"/>
                  <a:pt x="85" y="136"/>
                </a:cubicBezTo>
                <a:cubicBezTo>
                  <a:pt x="87" y="136"/>
                  <a:pt x="89" y="131"/>
                  <a:pt x="89" y="126"/>
                </a:cubicBezTo>
                <a:cubicBezTo>
                  <a:pt x="89" y="120"/>
                  <a:pt x="87" y="116"/>
                  <a:pt x="85" y="1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Freeform 62">
            <a:extLst>
              <a:ext uri="{FF2B5EF4-FFF2-40B4-BE49-F238E27FC236}">
                <a16:creationId xmlns:a16="http://schemas.microsoft.com/office/drawing/2014/main" id="{525FF4B0-44AE-45C1-B538-005431EE0FD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19373" y="5418983"/>
            <a:ext cx="414250" cy="382929"/>
          </a:xfrm>
          <a:custGeom>
            <a:avLst/>
            <a:gdLst>
              <a:gd name="T0" fmla="*/ 33 w 195"/>
              <a:gd name="T1" fmla="*/ 62 h 180"/>
              <a:gd name="T2" fmla="*/ 74 w 195"/>
              <a:gd name="T3" fmla="*/ 18 h 180"/>
              <a:gd name="T4" fmla="*/ 102 w 195"/>
              <a:gd name="T5" fmla="*/ 45 h 180"/>
              <a:gd name="T6" fmla="*/ 61 w 195"/>
              <a:gd name="T7" fmla="*/ 88 h 180"/>
              <a:gd name="T8" fmla="*/ 33 w 195"/>
              <a:gd name="T9" fmla="*/ 62 h 180"/>
              <a:gd name="T10" fmla="*/ 107 w 195"/>
              <a:gd name="T11" fmla="*/ 41 h 180"/>
              <a:gd name="T12" fmla="*/ 114 w 195"/>
              <a:gd name="T13" fmla="*/ 41 h 180"/>
              <a:gd name="T14" fmla="*/ 117 w 195"/>
              <a:gd name="T15" fmla="*/ 38 h 180"/>
              <a:gd name="T16" fmla="*/ 117 w 195"/>
              <a:gd name="T17" fmla="*/ 30 h 180"/>
              <a:gd name="T18" fmla="*/ 87 w 195"/>
              <a:gd name="T19" fmla="*/ 2 h 180"/>
              <a:gd name="T20" fmla="*/ 80 w 195"/>
              <a:gd name="T21" fmla="*/ 3 h 180"/>
              <a:gd name="T22" fmla="*/ 77 w 195"/>
              <a:gd name="T23" fmla="*/ 6 h 180"/>
              <a:gd name="T24" fmla="*/ 77 w 195"/>
              <a:gd name="T25" fmla="*/ 13 h 180"/>
              <a:gd name="T26" fmla="*/ 107 w 195"/>
              <a:gd name="T27" fmla="*/ 41 h 180"/>
              <a:gd name="T28" fmla="*/ 47 w 195"/>
              <a:gd name="T29" fmla="*/ 104 h 180"/>
              <a:gd name="T30" fmla="*/ 55 w 195"/>
              <a:gd name="T31" fmla="*/ 104 h 180"/>
              <a:gd name="T32" fmla="*/ 58 w 195"/>
              <a:gd name="T33" fmla="*/ 101 h 180"/>
              <a:gd name="T34" fmla="*/ 57 w 195"/>
              <a:gd name="T35" fmla="*/ 93 h 180"/>
              <a:gd name="T36" fmla="*/ 28 w 195"/>
              <a:gd name="T37" fmla="*/ 65 h 180"/>
              <a:gd name="T38" fmla="*/ 20 w 195"/>
              <a:gd name="T39" fmla="*/ 66 h 180"/>
              <a:gd name="T40" fmla="*/ 17 w 195"/>
              <a:gd name="T41" fmla="*/ 69 h 180"/>
              <a:gd name="T42" fmla="*/ 18 w 195"/>
              <a:gd name="T43" fmla="*/ 76 h 180"/>
              <a:gd name="T44" fmla="*/ 47 w 195"/>
              <a:gd name="T45" fmla="*/ 104 h 180"/>
              <a:gd name="T46" fmla="*/ 80 w 195"/>
              <a:gd name="T47" fmla="*/ 77 h 180"/>
              <a:gd name="T48" fmla="*/ 177 w 195"/>
              <a:gd name="T49" fmla="*/ 169 h 180"/>
              <a:gd name="T50" fmla="*/ 189 w 195"/>
              <a:gd name="T51" fmla="*/ 171 h 180"/>
              <a:gd name="T52" fmla="*/ 193 w 195"/>
              <a:gd name="T53" fmla="*/ 167 h 180"/>
              <a:gd name="T54" fmla="*/ 190 w 195"/>
              <a:gd name="T55" fmla="*/ 156 h 180"/>
              <a:gd name="T56" fmla="*/ 92 w 195"/>
              <a:gd name="T57" fmla="*/ 64 h 180"/>
              <a:gd name="T58" fmla="*/ 80 w 195"/>
              <a:gd name="T59" fmla="*/ 77 h 180"/>
              <a:gd name="T60" fmla="*/ 113 w 195"/>
              <a:gd name="T61" fmla="*/ 168 h 180"/>
              <a:gd name="T62" fmla="*/ 111 w 195"/>
              <a:gd name="T63" fmla="*/ 166 h 180"/>
              <a:gd name="T64" fmla="*/ 3 w 195"/>
              <a:gd name="T65" fmla="*/ 166 h 180"/>
              <a:gd name="T66" fmla="*/ 0 w 195"/>
              <a:gd name="T67" fmla="*/ 168 h 180"/>
              <a:gd name="T68" fmla="*/ 0 w 195"/>
              <a:gd name="T69" fmla="*/ 178 h 180"/>
              <a:gd name="T70" fmla="*/ 3 w 195"/>
              <a:gd name="T71" fmla="*/ 180 h 180"/>
              <a:gd name="T72" fmla="*/ 111 w 195"/>
              <a:gd name="T73" fmla="*/ 180 h 180"/>
              <a:gd name="T74" fmla="*/ 113 w 195"/>
              <a:gd name="T75" fmla="*/ 178 h 180"/>
              <a:gd name="T76" fmla="*/ 113 w 195"/>
              <a:gd name="T77" fmla="*/ 168 h 180"/>
              <a:gd name="T78" fmla="*/ 25 w 195"/>
              <a:gd name="T79" fmla="*/ 148 h 180"/>
              <a:gd name="T80" fmla="*/ 89 w 195"/>
              <a:gd name="T81" fmla="*/ 148 h 180"/>
              <a:gd name="T82" fmla="*/ 96 w 195"/>
              <a:gd name="T83" fmla="*/ 154 h 180"/>
              <a:gd name="T84" fmla="*/ 96 w 195"/>
              <a:gd name="T85" fmla="*/ 160 h 180"/>
              <a:gd name="T86" fmla="*/ 17 w 195"/>
              <a:gd name="T87" fmla="*/ 160 h 180"/>
              <a:gd name="T88" fmla="*/ 17 w 195"/>
              <a:gd name="T89" fmla="*/ 154 h 180"/>
              <a:gd name="T90" fmla="*/ 25 w 195"/>
              <a:gd name="T91" fmla="*/ 148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95" h="180">
                <a:moveTo>
                  <a:pt x="33" y="62"/>
                </a:moveTo>
                <a:cubicBezTo>
                  <a:pt x="74" y="18"/>
                  <a:pt x="74" y="18"/>
                  <a:pt x="74" y="18"/>
                </a:cubicBezTo>
                <a:cubicBezTo>
                  <a:pt x="102" y="45"/>
                  <a:pt x="102" y="45"/>
                  <a:pt x="102" y="45"/>
                </a:cubicBezTo>
                <a:cubicBezTo>
                  <a:pt x="61" y="88"/>
                  <a:pt x="61" y="88"/>
                  <a:pt x="61" y="88"/>
                </a:cubicBezTo>
                <a:lnTo>
                  <a:pt x="33" y="62"/>
                </a:lnTo>
                <a:close/>
                <a:moveTo>
                  <a:pt x="107" y="41"/>
                </a:moveTo>
                <a:cubicBezTo>
                  <a:pt x="109" y="43"/>
                  <a:pt x="112" y="43"/>
                  <a:pt x="114" y="41"/>
                </a:cubicBezTo>
                <a:cubicBezTo>
                  <a:pt x="117" y="38"/>
                  <a:pt x="117" y="38"/>
                  <a:pt x="117" y="38"/>
                </a:cubicBezTo>
                <a:cubicBezTo>
                  <a:pt x="119" y="35"/>
                  <a:pt x="119" y="32"/>
                  <a:pt x="117" y="30"/>
                </a:cubicBezTo>
                <a:cubicBezTo>
                  <a:pt x="87" y="2"/>
                  <a:pt x="87" y="2"/>
                  <a:pt x="87" y="2"/>
                </a:cubicBezTo>
                <a:cubicBezTo>
                  <a:pt x="85" y="0"/>
                  <a:pt x="82" y="0"/>
                  <a:pt x="80" y="3"/>
                </a:cubicBezTo>
                <a:cubicBezTo>
                  <a:pt x="77" y="6"/>
                  <a:pt x="77" y="6"/>
                  <a:pt x="77" y="6"/>
                </a:cubicBezTo>
                <a:cubicBezTo>
                  <a:pt x="75" y="8"/>
                  <a:pt x="75" y="11"/>
                  <a:pt x="77" y="13"/>
                </a:cubicBezTo>
                <a:lnTo>
                  <a:pt x="107" y="41"/>
                </a:lnTo>
                <a:close/>
                <a:moveTo>
                  <a:pt x="47" y="104"/>
                </a:moveTo>
                <a:cubicBezTo>
                  <a:pt x="49" y="106"/>
                  <a:pt x="53" y="106"/>
                  <a:pt x="55" y="104"/>
                </a:cubicBezTo>
                <a:cubicBezTo>
                  <a:pt x="58" y="101"/>
                  <a:pt x="58" y="101"/>
                  <a:pt x="58" y="101"/>
                </a:cubicBezTo>
                <a:cubicBezTo>
                  <a:pt x="60" y="99"/>
                  <a:pt x="60" y="95"/>
                  <a:pt x="57" y="93"/>
                </a:cubicBezTo>
                <a:cubicBezTo>
                  <a:pt x="28" y="65"/>
                  <a:pt x="28" y="65"/>
                  <a:pt x="28" y="65"/>
                </a:cubicBezTo>
                <a:cubicBezTo>
                  <a:pt x="26" y="63"/>
                  <a:pt x="22" y="64"/>
                  <a:pt x="20" y="66"/>
                </a:cubicBezTo>
                <a:cubicBezTo>
                  <a:pt x="17" y="69"/>
                  <a:pt x="17" y="69"/>
                  <a:pt x="17" y="69"/>
                </a:cubicBezTo>
                <a:cubicBezTo>
                  <a:pt x="15" y="71"/>
                  <a:pt x="15" y="74"/>
                  <a:pt x="18" y="76"/>
                </a:cubicBezTo>
                <a:lnTo>
                  <a:pt x="47" y="104"/>
                </a:lnTo>
                <a:close/>
                <a:moveTo>
                  <a:pt x="80" y="77"/>
                </a:moveTo>
                <a:cubicBezTo>
                  <a:pt x="177" y="169"/>
                  <a:pt x="177" y="169"/>
                  <a:pt x="177" y="169"/>
                </a:cubicBezTo>
                <a:cubicBezTo>
                  <a:pt x="181" y="172"/>
                  <a:pt x="186" y="174"/>
                  <a:pt x="189" y="171"/>
                </a:cubicBezTo>
                <a:cubicBezTo>
                  <a:pt x="193" y="167"/>
                  <a:pt x="193" y="167"/>
                  <a:pt x="193" y="167"/>
                </a:cubicBezTo>
                <a:cubicBezTo>
                  <a:pt x="195" y="164"/>
                  <a:pt x="194" y="159"/>
                  <a:pt x="190" y="156"/>
                </a:cubicBezTo>
                <a:cubicBezTo>
                  <a:pt x="92" y="64"/>
                  <a:pt x="92" y="64"/>
                  <a:pt x="92" y="64"/>
                </a:cubicBezTo>
                <a:lnTo>
                  <a:pt x="80" y="77"/>
                </a:lnTo>
                <a:close/>
                <a:moveTo>
                  <a:pt x="113" y="168"/>
                </a:moveTo>
                <a:cubicBezTo>
                  <a:pt x="113" y="167"/>
                  <a:pt x="112" y="166"/>
                  <a:pt x="111" y="166"/>
                </a:cubicBezTo>
                <a:cubicBezTo>
                  <a:pt x="3" y="166"/>
                  <a:pt x="3" y="166"/>
                  <a:pt x="3" y="166"/>
                </a:cubicBezTo>
                <a:cubicBezTo>
                  <a:pt x="1" y="166"/>
                  <a:pt x="0" y="167"/>
                  <a:pt x="0" y="168"/>
                </a:cubicBezTo>
                <a:cubicBezTo>
                  <a:pt x="0" y="178"/>
                  <a:pt x="0" y="178"/>
                  <a:pt x="0" y="178"/>
                </a:cubicBezTo>
                <a:cubicBezTo>
                  <a:pt x="0" y="179"/>
                  <a:pt x="1" y="180"/>
                  <a:pt x="3" y="180"/>
                </a:cubicBezTo>
                <a:cubicBezTo>
                  <a:pt x="111" y="180"/>
                  <a:pt x="111" y="180"/>
                  <a:pt x="111" y="180"/>
                </a:cubicBezTo>
                <a:cubicBezTo>
                  <a:pt x="112" y="180"/>
                  <a:pt x="113" y="179"/>
                  <a:pt x="113" y="178"/>
                </a:cubicBezTo>
                <a:lnTo>
                  <a:pt x="113" y="168"/>
                </a:lnTo>
                <a:close/>
                <a:moveTo>
                  <a:pt x="25" y="148"/>
                </a:moveTo>
                <a:cubicBezTo>
                  <a:pt x="89" y="148"/>
                  <a:pt x="89" y="148"/>
                  <a:pt x="89" y="148"/>
                </a:cubicBezTo>
                <a:cubicBezTo>
                  <a:pt x="92" y="148"/>
                  <a:pt x="95" y="151"/>
                  <a:pt x="96" y="154"/>
                </a:cubicBezTo>
                <a:cubicBezTo>
                  <a:pt x="96" y="160"/>
                  <a:pt x="96" y="160"/>
                  <a:pt x="96" y="160"/>
                </a:cubicBezTo>
                <a:cubicBezTo>
                  <a:pt x="17" y="160"/>
                  <a:pt x="17" y="160"/>
                  <a:pt x="17" y="160"/>
                </a:cubicBezTo>
                <a:cubicBezTo>
                  <a:pt x="17" y="154"/>
                  <a:pt x="17" y="154"/>
                  <a:pt x="17" y="154"/>
                </a:cubicBezTo>
                <a:cubicBezTo>
                  <a:pt x="18" y="151"/>
                  <a:pt x="21" y="148"/>
                  <a:pt x="25" y="1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19FB9FF2-AF87-4882-BC50-73B2D4540684}"/>
              </a:ext>
            </a:extLst>
          </p:cNvPr>
          <p:cNvGrpSpPr/>
          <p:nvPr/>
        </p:nvGrpSpPr>
        <p:grpSpPr>
          <a:xfrm>
            <a:off x="3765561" y="5397008"/>
            <a:ext cx="483327" cy="466148"/>
            <a:chOff x="2185477" y="5525527"/>
            <a:chExt cx="523177" cy="504582"/>
          </a:xfrm>
        </p:grpSpPr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D92CDC5C-4D33-4C95-B735-B9EA917B912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34420" y="5525527"/>
              <a:ext cx="333534" cy="337026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3">
              <a:extLst>
                <a:ext uri="{FF2B5EF4-FFF2-40B4-BE49-F238E27FC236}">
                  <a16:creationId xmlns:a16="http://schemas.microsoft.com/office/drawing/2014/main" id="{FDDDD56B-D490-4C05-9FF7-F98CD7B99E2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536194" y="5733047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3">
              <a:extLst>
                <a:ext uri="{FF2B5EF4-FFF2-40B4-BE49-F238E27FC236}">
                  <a16:creationId xmlns:a16="http://schemas.microsoft.com/office/drawing/2014/main" id="{6EAD95A2-39EE-4613-A7C5-32B3877910C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382756" y="5855842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3">
              <a:extLst>
                <a:ext uri="{FF2B5EF4-FFF2-40B4-BE49-F238E27FC236}">
                  <a16:creationId xmlns:a16="http://schemas.microsoft.com/office/drawing/2014/main" id="{8D07F974-AA1D-4CFC-8879-E22E3C23C47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185477" y="5825960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5" name="Freeform 917">
            <a:extLst>
              <a:ext uri="{FF2B5EF4-FFF2-40B4-BE49-F238E27FC236}">
                <a16:creationId xmlns:a16="http://schemas.microsoft.com/office/drawing/2014/main" id="{1207D7F2-9466-45D5-AC71-7D540F1870D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945353" y="1778294"/>
            <a:ext cx="704648" cy="706720"/>
          </a:xfrm>
          <a:custGeom>
            <a:avLst/>
            <a:gdLst>
              <a:gd name="T0" fmla="*/ 277 w 512"/>
              <a:gd name="T1" fmla="*/ 138 h 512"/>
              <a:gd name="T2" fmla="*/ 277 w 512"/>
              <a:gd name="T3" fmla="*/ 245 h 512"/>
              <a:gd name="T4" fmla="*/ 234 w 512"/>
              <a:gd name="T5" fmla="*/ 245 h 512"/>
              <a:gd name="T6" fmla="*/ 234 w 512"/>
              <a:gd name="T7" fmla="*/ 138 h 512"/>
              <a:gd name="T8" fmla="*/ 256 w 512"/>
              <a:gd name="T9" fmla="*/ 117 h 512"/>
              <a:gd name="T10" fmla="*/ 277 w 512"/>
              <a:gd name="T11" fmla="*/ 138 h 512"/>
              <a:gd name="T12" fmla="*/ 512 w 512"/>
              <a:gd name="T13" fmla="*/ 256 h 512"/>
              <a:gd name="T14" fmla="*/ 256 w 512"/>
              <a:gd name="T15" fmla="*/ 512 h 512"/>
              <a:gd name="T16" fmla="*/ 0 w 512"/>
              <a:gd name="T17" fmla="*/ 256 h 512"/>
              <a:gd name="T18" fmla="*/ 256 w 512"/>
              <a:gd name="T19" fmla="*/ 0 h 512"/>
              <a:gd name="T20" fmla="*/ 512 w 512"/>
              <a:gd name="T21" fmla="*/ 256 h 512"/>
              <a:gd name="T22" fmla="*/ 298 w 512"/>
              <a:gd name="T23" fmla="*/ 138 h 512"/>
              <a:gd name="T24" fmla="*/ 256 w 512"/>
              <a:gd name="T25" fmla="*/ 96 h 512"/>
              <a:gd name="T26" fmla="*/ 213 w 512"/>
              <a:gd name="T27" fmla="*/ 138 h 512"/>
              <a:gd name="T28" fmla="*/ 213 w 512"/>
              <a:gd name="T29" fmla="*/ 256 h 512"/>
              <a:gd name="T30" fmla="*/ 224 w 512"/>
              <a:gd name="T31" fmla="*/ 266 h 512"/>
              <a:gd name="T32" fmla="*/ 245 w 512"/>
              <a:gd name="T33" fmla="*/ 266 h 512"/>
              <a:gd name="T34" fmla="*/ 245 w 512"/>
              <a:gd name="T35" fmla="*/ 373 h 512"/>
              <a:gd name="T36" fmla="*/ 236 w 512"/>
              <a:gd name="T37" fmla="*/ 378 h 512"/>
              <a:gd name="T38" fmla="*/ 235 w 512"/>
              <a:gd name="T39" fmla="*/ 388 h 512"/>
              <a:gd name="T40" fmla="*/ 246 w 512"/>
              <a:gd name="T41" fmla="*/ 410 h 512"/>
              <a:gd name="T42" fmla="*/ 256 w 512"/>
              <a:gd name="T43" fmla="*/ 416 h 512"/>
              <a:gd name="T44" fmla="*/ 265 w 512"/>
              <a:gd name="T45" fmla="*/ 410 h 512"/>
              <a:gd name="T46" fmla="*/ 276 w 512"/>
              <a:gd name="T47" fmla="*/ 388 h 512"/>
              <a:gd name="T48" fmla="*/ 275 w 512"/>
              <a:gd name="T49" fmla="*/ 378 h 512"/>
              <a:gd name="T50" fmla="*/ 266 w 512"/>
              <a:gd name="T51" fmla="*/ 373 h 512"/>
              <a:gd name="T52" fmla="*/ 266 w 512"/>
              <a:gd name="T53" fmla="*/ 266 h 512"/>
              <a:gd name="T54" fmla="*/ 288 w 512"/>
              <a:gd name="T55" fmla="*/ 266 h 512"/>
              <a:gd name="T56" fmla="*/ 298 w 512"/>
              <a:gd name="T57" fmla="*/ 256 h 512"/>
              <a:gd name="T58" fmla="*/ 298 w 512"/>
              <a:gd name="T59" fmla="*/ 13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12" h="512">
                <a:moveTo>
                  <a:pt x="277" y="138"/>
                </a:moveTo>
                <a:cubicBezTo>
                  <a:pt x="277" y="245"/>
                  <a:pt x="277" y="245"/>
                  <a:pt x="277" y="245"/>
                </a:cubicBezTo>
                <a:cubicBezTo>
                  <a:pt x="234" y="245"/>
                  <a:pt x="234" y="245"/>
                  <a:pt x="234" y="245"/>
                </a:cubicBezTo>
                <a:cubicBezTo>
                  <a:pt x="234" y="138"/>
                  <a:pt x="234" y="138"/>
                  <a:pt x="234" y="138"/>
                </a:cubicBezTo>
                <a:cubicBezTo>
                  <a:pt x="234" y="127"/>
                  <a:pt x="244" y="117"/>
                  <a:pt x="256" y="117"/>
                </a:cubicBezTo>
                <a:cubicBezTo>
                  <a:pt x="267" y="117"/>
                  <a:pt x="277" y="127"/>
                  <a:pt x="277" y="13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98" y="138"/>
                </a:moveTo>
                <a:cubicBezTo>
                  <a:pt x="298" y="115"/>
                  <a:pt x="279" y="96"/>
                  <a:pt x="256" y="96"/>
                </a:cubicBezTo>
                <a:cubicBezTo>
                  <a:pt x="232" y="96"/>
                  <a:pt x="213" y="115"/>
                  <a:pt x="213" y="138"/>
                </a:cubicBezTo>
                <a:cubicBezTo>
                  <a:pt x="213" y="256"/>
                  <a:pt x="213" y="256"/>
                  <a:pt x="213" y="256"/>
                </a:cubicBezTo>
                <a:cubicBezTo>
                  <a:pt x="213" y="262"/>
                  <a:pt x="218" y="266"/>
                  <a:pt x="224" y="266"/>
                </a:cubicBezTo>
                <a:cubicBezTo>
                  <a:pt x="245" y="266"/>
                  <a:pt x="245" y="266"/>
                  <a:pt x="245" y="266"/>
                </a:cubicBezTo>
                <a:cubicBezTo>
                  <a:pt x="245" y="373"/>
                  <a:pt x="245" y="373"/>
                  <a:pt x="245" y="373"/>
                </a:cubicBezTo>
                <a:cubicBezTo>
                  <a:pt x="241" y="373"/>
                  <a:pt x="238" y="375"/>
                  <a:pt x="236" y="378"/>
                </a:cubicBezTo>
                <a:cubicBezTo>
                  <a:pt x="234" y="381"/>
                  <a:pt x="234" y="385"/>
                  <a:pt x="235" y="388"/>
                </a:cubicBezTo>
                <a:cubicBezTo>
                  <a:pt x="246" y="410"/>
                  <a:pt x="246" y="410"/>
                  <a:pt x="246" y="410"/>
                </a:cubicBezTo>
                <a:cubicBezTo>
                  <a:pt x="248" y="413"/>
                  <a:pt x="252" y="416"/>
                  <a:pt x="256" y="416"/>
                </a:cubicBezTo>
                <a:cubicBezTo>
                  <a:pt x="260" y="416"/>
                  <a:pt x="263" y="413"/>
                  <a:pt x="265" y="410"/>
                </a:cubicBezTo>
                <a:cubicBezTo>
                  <a:pt x="276" y="388"/>
                  <a:pt x="276" y="388"/>
                  <a:pt x="276" y="388"/>
                </a:cubicBezTo>
                <a:cubicBezTo>
                  <a:pt x="278" y="385"/>
                  <a:pt x="277" y="381"/>
                  <a:pt x="275" y="378"/>
                </a:cubicBezTo>
                <a:cubicBezTo>
                  <a:pt x="273" y="375"/>
                  <a:pt x="270" y="373"/>
                  <a:pt x="266" y="373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288" y="266"/>
                  <a:pt x="288" y="266"/>
                  <a:pt x="288" y="266"/>
                </a:cubicBezTo>
                <a:cubicBezTo>
                  <a:pt x="294" y="266"/>
                  <a:pt x="298" y="262"/>
                  <a:pt x="298" y="256"/>
                </a:cubicBezTo>
                <a:lnTo>
                  <a:pt x="298" y="1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" name="Freeform 134">
            <a:extLst>
              <a:ext uri="{FF2B5EF4-FFF2-40B4-BE49-F238E27FC236}">
                <a16:creationId xmlns:a16="http://schemas.microsoft.com/office/drawing/2014/main" id="{F6C4E95C-8EFD-4752-9B3B-66A55780D1B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659926" y="1794133"/>
            <a:ext cx="690538" cy="692568"/>
          </a:xfrm>
          <a:custGeom>
            <a:avLst/>
            <a:gdLst>
              <a:gd name="T0" fmla="*/ 256 w 512"/>
              <a:gd name="T1" fmla="*/ 128 h 512"/>
              <a:gd name="T2" fmla="*/ 234 w 512"/>
              <a:gd name="T3" fmla="*/ 128 h 512"/>
              <a:gd name="T4" fmla="*/ 234 w 512"/>
              <a:gd name="T5" fmla="*/ 117 h 512"/>
              <a:gd name="T6" fmla="*/ 256 w 512"/>
              <a:gd name="T7" fmla="*/ 117 h 512"/>
              <a:gd name="T8" fmla="*/ 256 w 512"/>
              <a:gd name="T9" fmla="*/ 128 h 512"/>
              <a:gd name="T10" fmla="*/ 192 w 512"/>
              <a:gd name="T11" fmla="*/ 164 h 512"/>
              <a:gd name="T12" fmla="*/ 149 w 512"/>
              <a:gd name="T13" fmla="*/ 180 h 512"/>
              <a:gd name="T14" fmla="*/ 149 w 512"/>
              <a:gd name="T15" fmla="*/ 192 h 512"/>
              <a:gd name="T16" fmla="*/ 298 w 512"/>
              <a:gd name="T17" fmla="*/ 192 h 512"/>
              <a:gd name="T18" fmla="*/ 298 w 512"/>
              <a:gd name="T19" fmla="*/ 149 h 512"/>
              <a:gd name="T20" fmla="*/ 201 w 512"/>
              <a:gd name="T21" fmla="*/ 149 h 512"/>
              <a:gd name="T22" fmla="*/ 192 w 512"/>
              <a:gd name="T23" fmla="*/ 164 h 512"/>
              <a:gd name="T24" fmla="*/ 234 w 512"/>
              <a:gd name="T25" fmla="*/ 394 h 512"/>
              <a:gd name="T26" fmla="*/ 256 w 512"/>
              <a:gd name="T27" fmla="*/ 394 h 512"/>
              <a:gd name="T28" fmla="*/ 256 w 512"/>
              <a:gd name="T29" fmla="*/ 213 h 512"/>
              <a:gd name="T30" fmla="*/ 234 w 512"/>
              <a:gd name="T31" fmla="*/ 213 h 512"/>
              <a:gd name="T32" fmla="*/ 234 w 512"/>
              <a:gd name="T33" fmla="*/ 394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373 w 512"/>
              <a:gd name="T45" fmla="*/ 117 h 512"/>
              <a:gd name="T46" fmla="*/ 362 w 512"/>
              <a:gd name="T47" fmla="*/ 106 h 512"/>
              <a:gd name="T48" fmla="*/ 320 w 512"/>
              <a:gd name="T49" fmla="*/ 106 h 512"/>
              <a:gd name="T50" fmla="*/ 309 w 512"/>
              <a:gd name="T51" fmla="*/ 117 h 512"/>
              <a:gd name="T52" fmla="*/ 309 w 512"/>
              <a:gd name="T53" fmla="*/ 128 h 512"/>
              <a:gd name="T54" fmla="*/ 277 w 512"/>
              <a:gd name="T55" fmla="*/ 128 h 512"/>
              <a:gd name="T56" fmla="*/ 277 w 512"/>
              <a:gd name="T57" fmla="*/ 106 h 512"/>
              <a:gd name="T58" fmla="*/ 266 w 512"/>
              <a:gd name="T59" fmla="*/ 96 h 512"/>
              <a:gd name="T60" fmla="*/ 224 w 512"/>
              <a:gd name="T61" fmla="*/ 96 h 512"/>
              <a:gd name="T62" fmla="*/ 213 w 512"/>
              <a:gd name="T63" fmla="*/ 106 h 512"/>
              <a:gd name="T64" fmla="*/ 213 w 512"/>
              <a:gd name="T65" fmla="*/ 128 h 512"/>
              <a:gd name="T66" fmla="*/ 192 w 512"/>
              <a:gd name="T67" fmla="*/ 128 h 512"/>
              <a:gd name="T68" fmla="*/ 181 w 512"/>
              <a:gd name="T69" fmla="*/ 138 h 512"/>
              <a:gd name="T70" fmla="*/ 177 w 512"/>
              <a:gd name="T71" fmla="*/ 149 h 512"/>
              <a:gd name="T72" fmla="*/ 138 w 512"/>
              <a:gd name="T73" fmla="*/ 160 h 512"/>
              <a:gd name="T74" fmla="*/ 131 w 512"/>
              <a:gd name="T75" fmla="*/ 163 h 512"/>
              <a:gd name="T76" fmla="*/ 128 w 512"/>
              <a:gd name="T77" fmla="*/ 170 h 512"/>
              <a:gd name="T78" fmla="*/ 128 w 512"/>
              <a:gd name="T79" fmla="*/ 202 h 512"/>
              <a:gd name="T80" fmla="*/ 138 w 512"/>
              <a:gd name="T81" fmla="*/ 213 h 512"/>
              <a:gd name="T82" fmla="*/ 213 w 512"/>
              <a:gd name="T83" fmla="*/ 213 h 512"/>
              <a:gd name="T84" fmla="*/ 213 w 512"/>
              <a:gd name="T85" fmla="*/ 405 h 512"/>
              <a:gd name="T86" fmla="*/ 224 w 512"/>
              <a:gd name="T87" fmla="*/ 416 h 512"/>
              <a:gd name="T88" fmla="*/ 266 w 512"/>
              <a:gd name="T89" fmla="*/ 416 h 512"/>
              <a:gd name="T90" fmla="*/ 277 w 512"/>
              <a:gd name="T91" fmla="*/ 405 h 512"/>
              <a:gd name="T92" fmla="*/ 277 w 512"/>
              <a:gd name="T93" fmla="*/ 213 h 512"/>
              <a:gd name="T94" fmla="*/ 309 w 512"/>
              <a:gd name="T95" fmla="*/ 213 h 512"/>
              <a:gd name="T96" fmla="*/ 309 w 512"/>
              <a:gd name="T97" fmla="*/ 224 h 512"/>
              <a:gd name="T98" fmla="*/ 320 w 512"/>
              <a:gd name="T99" fmla="*/ 234 h 512"/>
              <a:gd name="T100" fmla="*/ 362 w 512"/>
              <a:gd name="T101" fmla="*/ 234 h 512"/>
              <a:gd name="T102" fmla="*/ 373 w 512"/>
              <a:gd name="T103" fmla="*/ 224 h 512"/>
              <a:gd name="T104" fmla="*/ 373 w 512"/>
              <a:gd name="T105" fmla="*/ 117 h 512"/>
              <a:gd name="T106" fmla="*/ 330 w 512"/>
              <a:gd name="T107" fmla="*/ 213 h 512"/>
              <a:gd name="T108" fmla="*/ 352 w 512"/>
              <a:gd name="T109" fmla="*/ 213 h 512"/>
              <a:gd name="T110" fmla="*/ 352 w 512"/>
              <a:gd name="T111" fmla="*/ 128 h 512"/>
              <a:gd name="T112" fmla="*/ 330 w 512"/>
              <a:gd name="T113" fmla="*/ 128 h 512"/>
              <a:gd name="T114" fmla="*/ 330 w 512"/>
              <a:gd name="T115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256" y="128"/>
                </a:moveTo>
                <a:cubicBezTo>
                  <a:pt x="234" y="128"/>
                  <a:pt x="234" y="128"/>
                  <a:pt x="234" y="128"/>
                </a:cubicBezTo>
                <a:cubicBezTo>
                  <a:pt x="234" y="117"/>
                  <a:pt x="234" y="117"/>
                  <a:pt x="234" y="117"/>
                </a:cubicBezTo>
                <a:cubicBezTo>
                  <a:pt x="256" y="117"/>
                  <a:pt x="256" y="117"/>
                  <a:pt x="256" y="117"/>
                </a:cubicBezTo>
                <a:lnTo>
                  <a:pt x="256" y="128"/>
                </a:lnTo>
                <a:close/>
                <a:moveTo>
                  <a:pt x="192" y="164"/>
                </a:moveTo>
                <a:cubicBezTo>
                  <a:pt x="180" y="176"/>
                  <a:pt x="161" y="179"/>
                  <a:pt x="149" y="180"/>
                </a:cubicBezTo>
                <a:cubicBezTo>
                  <a:pt x="149" y="192"/>
                  <a:pt x="149" y="192"/>
                  <a:pt x="149" y="192"/>
                </a:cubicBezTo>
                <a:cubicBezTo>
                  <a:pt x="298" y="192"/>
                  <a:pt x="298" y="192"/>
                  <a:pt x="298" y="192"/>
                </a:cubicBezTo>
                <a:cubicBezTo>
                  <a:pt x="298" y="149"/>
                  <a:pt x="298" y="149"/>
                  <a:pt x="298" y="149"/>
                </a:cubicBezTo>
                <a:cubicBezTo>
                  <a:pt x="201" y="149"/>
                  <a:pt x="201" y="149"/>
                  <a:pt x="201" y="149"/>
                </a:cubicBezTo>
                <a:cubicBezTo>
                  <a:pt x="199" y="155"/>
                  <a:pt x="196" y="160"/>
                  <a:pt x="192" y="164"/>
                </a:cubicBezTo>
                <a:close/>
                <a:moveTo>
                  <a:pt x="234" y="394"/>
                </a:moveTo>
                <a:cubicBezTo>
                  <a:pt x="256" y="394"/>
                  <a:pt x="256" y="394"/>
                  <a:pt x="256" y="394"/>
                </a:cubicBezTo>
                <a:cubicBezTo>
                  <a:pt x="256" y="213"/>
                  <a:pt x="256" y="213"/>
                  <a:pt x="256" y="213"/>
                </a:cubicBezTo>
                <a:cubicBezTo>
                  <a:pt x="234" y="213"/>
                  <a:pt x="234" y="213"/>
                  <a:pt x="234" y="213"/>
                </a:cubicBezTo>
                <a:lnTo>
                  <a:pt x="234" y="39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17"/>
                </a:moveTo>
                <a:cubicBezTo>
                  <a:pt x="373" y="111"/>
                  <a:pt x="368" y="106"/>
                  <a:pt x="362" y="106"/>
                </a:cubicBezTo>
                <a:cubicBezTo>
                  <a:pt x="320" y="106"/>
                  <a:pt x="320" y="106"/>
                  <a:pt x="320" y="106"/>
                </a:cubicBezTo>
                <a:cubicBezTo>
                  <a:pt x="314" y="106"/>
                  <a:pt x="309" y="111"/>
                  <a:pt x="309" y="117"/>
                </a:cubicBezTo>
                <a:cubicBezTo>
                  <a:pt x="309" y="128"/>
                  <a:pt x="309" y="128"/>
                  <a:pt x="309" y="128"/>
                </a:cubicBezTo>
                <a:cubicBezTo>
                  <a:pt x="277" y="128"/>
                  <a:pt x="277" y="128"/>
                  <a:pt x="277" y="128"/>
                </a:cubicBezTo>
                <a:cubicBezTo>
                  <a:pt x="277" y="106"/>
                  <a:pt x="277" y="106"/>
                  <a:pt x="277" y="106"/>
                </a:cubicBezTo>
                <a:cubicBezTo>
                  <a:pt x="277" y="100"/>
                  <a:pt x="272" y="96"/>
                  <a:pt x="266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18" y="96"/>
                  <a:pt x="213" y="100"/>
                  <a:pt x="213" y="106"/>
                </a:cubicBezTo>
                <a:cubicBezTo>
                  <a:pt x="213" y="128"/>
                  <a:pt x="213" y="128"/>
                  <a:pt x="213" y="128"/>
                </a:cubicBezTo>
                <a:cubicBezTo>
                  <a:pt x="192" y="128"/>
                  <a:pt x="192" y="128"/>
                  <a:pt x="192" y="128"/>
                </a:cubicBezTo>
                <a:cubicBezTo>
                  <a:pt x="186" y="128"/>
                  <a:pt x="181" y="132"/>
                  <a:pt x="181" y="138"/>
                </a:cubicBezTo>
                <a:cubicBezTo>
                  <a:pt x="181" y="143"/>
                  <a:pt x="180" y="146"/>
                  <a:pt x="177" y="149"/>
                </a:cubicBezTo>
                <a:cubicBezTo>
                  <a:pt x="167" y="158"/>
                  <a:pt x="146" y="160"/>
                  <a:pt x="138" y="160"/>
                </a:cubicBezTo>
                <a:cubicBezTo>
                  <a:pt x="136" y="160"/>
                  <a:pt x="133" y="161"/>
                  <a:pt x="131" y="163"/>
                </a:cubicBezTo>
                <a:cubicBezTo>
                  <a:pt x="129" y="165"/>
                  <a:pt x="128" y="167"/>
                  <a:pt x="128" y="170"/>
                </a:cubicBezTo>
                <a:cubicBezTo>
                  <a:pt x="128" y="202"/>
                  <a:pt x="128" y="202"/>
                  <a:pt x="128" y="202"/>
                </a:cubicBezTo>
                <a:cubicBezTo>
                  <a:pt x="128" y="208"/>
                  <a:pt x="132" y="213"/>
                  <a:pt x="138" y="213"/>
                </a:cubicBezTo>
                <a:cubicBezTo>
                  <a:pt x="213" y="213"/>
                  <a:pt x="213" y="213"/>
                  <a:pt x="213" y="213"/>
                </a:cubicBezTo>
                <a:cubicBezTo>
                  <a:pt x="213" y="405"/>
                  <a:pt x="213" y="405"/>
                  <a:pt x="213" y="405"/>
                </a:cubicBezTo>
                <a:cubicBezTo>
                  <a:pt x="213" y="411"/>
                  <a:pt x="218" y="416"/>
                  <a:pt x="224" y="416"/>
                </a:cubicBezTo>
                <a:cubicBezTo>
                  <a:pt x="266" y="416"/>
                  <a:pt x="266" y="416"/>
                  <a:pt x="266" y="416"/>
                </a:cubicBezTo>
                <a:cubicBezTo>
                  <a:pt x="272" y="416"/>
                  <a:pt x="277" y="411"/>
                  <a:pt x="277" y="405"/>
                </a:cubicBezTo>
                <a:cubicBezTo>
                  <a:pt x="277" y="213"/>
                  <a:pt x="277" y="213"/>
                  <a:pt x="277" y="213"/>
                </a:cubicBezTo>
                <a:cubicBezTo>
                  <a:pt x="309" y="213"/>
                  <a:pt x="309" y="213"/>
                  <a:pt x="309" y="213"/>
                </a:cubicBezTo>
                <a:cubicBezTo>
                  <a:pt x="309" y="224"/>
                  <a:pt x="309" y="224"/>
                  <a:pt x="309" y="224"/>
                </a:cubicBezTo>
                <a:cubicBezTo>
                  <a:pt x="309" y="230"/>
                  <a:pt x="314" y="234"/>
                  <a:pt x="320" y="234"/>
                </a:cubicBezTo>
                <a:cubicBezTo>
                  <a:pt x="362" y="234"/>
                  <a:pt x="362" y="234"/>
                  <a:pt x="362" y="234"/>
                </a:cubicBezTo>
                <a:cubicBezTo>
                  <a:pt x="368" y="234"/>
                  <a:pt x="373" y="230"/>
                  <a:pt x="373" y="224"/>
                </a:cubicBezTo>
                <a:lnTo>
                  <a:pt x="373" y="117"/>
                </a:lnTo>
                <a:close/>
                <a:moveTo>
                  <a:pt x="330" y="213"/>
                </a:moveTo>
                <a:cubicBezTo>
                  <a:pt x="352" y="213"/>
                  <a:pt x="352" y="213"/>
                  <a:pt x="352" y="213"/>
                </a:cubicBezTo>
                <a:cubicBezTo>
                  <a:pt x="352" y="128"/>
                  <a:pt x="352" y="128"/>
                  <a:pt x="352" y="128"/>
                </a:cubicBezTo>
                <a:cubicBezTo>
                  <a:pt x="330" y="128"/>
                  <a:pt x="330" y="128"/>
                  <a:pt x="330" y="128"/>
                </a:cubicBezTo>
                <a:lnTo>
                  <a:pt x="330" y="21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7" name="Freeform 566">
            <a:extLst>
              <a:ext uri="{FF2B5EF4-FFF2-40B4-BE49-F238E27FC236}">
                <a16:creationId xmlns:a16="http://schemas.microsoft.com/office/drawing/2014/main" id="{7742D120-52BA-4CF4-B20E-3FD04AE3AC3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738296" y="5272112"/>
            <a:ext cx="691649" cy="691649"/>
          </a:xfrm>
          <a:custGeom>
            <a:avLst/>
            <a:gdLst>
              <a:gd name="T0" fmla="*/ 364 w 512"/>
              <a:gd name="T1" fmla="*/ 138 h 512"/>
              <a:gd name="T2" fmla="*/ 393 w 512"/>
              <a:gd name="T3" fmla="*/ 352 h 512"/>
              <a:gd name="T4" fmla="*/ 310 w 512"/>
              <a:gd name="T5" fmla="*/ 352 h 512"/>
              <a:gd name="T6" fmla="*/ 329 w 512"/>
              <a:gd name="T7" fmla="*/ 138 h 512"/>
              <a:gd name="T8" fmla="*/ 364 w 512"/>
              <a:gd name="T9" fmla="*/ 138 h 512"/>
              <a:gd name="T10" fmla="*/ 213 w 512"/>
              <a:gd name="T11" fmla="*/ 233 h 512"/>
              <a:gd name="T12" fmla="*/ 213 w 512"/>
              <a:gd name="T13" fmla="*/ 352 h 512"/>
              <a:gd name="T14" fmla="*/ 289 w 512"/>
              <a:gd name="T15" fmla="*/ 352 h 512"/>
              <a:gd name="T16" fmla="*/ 294 w 512"/>
              <a:gd name="T17" fmla="*/ 287 h 512"/>
              <a:gd name="T18" fmla="*/ 292 w 512"/>
              <a:gd name="T19" fmla="*/ 286 h 512"/>
              <a:gd name="T20" fmla="*/ 213 w 512"/>
              <a:gd name="T21" fmla="*/ 233 h 512"/>
              <a:gd name="T22" fmla="*/ 117 w 512"/>
              <a:gd name="T23" fmla="*/ 352 h 512"/>
              <a:gd name="T24" fmla="*/ 192 w 512"/>
              <a:gd name="T25" fmla="*/ 352 h 512"/>
              <a:gd name="T26" fmla="*/ 192 w 512"/>
              <a:gd name="T27" fmla="*/ 283 h 512"/>
              <a:gd name="T28" fmla="*/ 117 w 512"/>
              <a:gd name="T29" fmla="*/ 233 h 512"/>
              <a:gd name="T30" fmla="*/ 117 w 512"/>
              <a:gd name="T31" fmla="*/ 352 h 512"/>
              <a:gd name="T32" fmla="*/ 512 w 512"/>
              <a:gd name="T33" fmla="*/ 256 h 512"/>
              <a:gd name="T34" fmla="*/ 256 w 512"/>
              <a:gd name="T35" fmla="*/ 512 h 512"/>
              <a:gd name="T36" fmla="*/ 0 w 512"/>
              <a:gd name="T37" fmla="*/ 256 h 512"/>
              <a:gd name="T38" fmla="*/ 256 w 512"/>
              <a:gd name="T39" fmla="*/ 0 h 512"/>
              <a:gd name="T40" fmla="*/ 512 w 512"/>
              <a:gd name="T41" fmla="*/ 256 h 512"/>
              <a:gd name="T42" fmla="*/ 416 w 512"/>
              <a:gd name="T43" fmla="*/ 361 h 512"/>
              <a:gd name="T44" fmla="*/ 384 w 512"/>
              <a:gd name="T45" fmla="*/ 126 h 512"/>
              <a:gd name="T46" fmla="*/ 373 w 512"/>
              <a:gd name="T47" fmla="*/ 117 h 512"/>
              <a:gd name="T48" fmla="*/ 320 w 512"/>
              <a:gd name="T49" fmla="*/ 117 h 512"/>
              <a:gd name="T50" fmla="*/ 309 w 512"/>
              <a:gd name="T51" fmla="*/ 127 h 512"/>
              <a:gd name="T52" fmla="*/ 297 w 512"/>
              <a:gd name="T53" fmla="*/ 263 h 512"/>
              <a:gd name="T54" fmla="*/ 208 w 512"/>
              <a:gd name="T55" fmla="*/ 204 h 512"/>
              <a:gd name="T56" fmla="*/ 197 w 512"/>
              <a:gd name="T57" fmla="*/ 204 h 512"/>
              <a:gd name="T58" fmla="*/ 192 w 512"/>
              <a:gd name="T59" fmla="*/ 213 h 512"/>
              <a:gd name="T60" fmla="*/ 192 w 512"/>
              <a:gd name="T61" fmla="*/ 257 h 512"/>
              <a:gd name="T62" fmla="*/ 112 w 512"/>
              <a:gd name="T63" fmla="*/ 204 h 512"/>
              <a:gd name="T64" fmla="*/ 101 w 512"/>
              <a:gd name="T65" fmla="*/ 204 h 512"/>
              <a:gd name="T66" fmla="*/ 96 w 512"/>
              <a:gd name="T67" fmla="*/ 213 h 512"/>
              <a:gd name="T68" fmla="*/ 96 w 512"/>
              <a:gd name="T69" fmla="*/ 362 h 512"/>
              <a:gd name="T70" fmla="*/ 106 w 512"/>
              <a:gd name="T71" fmla="*/ 373 h 512"/>
              <a:gd name="T72" fmla="*/ 405 w 512"/>
              <a:gd name="T73" fmla="*/ 373 h 512"/>
              <a:gd name="T74" fmla="*/ 413 w 512"/>
              <a:gd name="T75" fmla="*/ 369 h 512"/>
              <a:gd name="T76" fmla="*/ 416 w 512"/>
              <a:gd name="T77" fmla="*/ 3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364" y="138"/>
                </a:moveTo>
                <a:cubicBezTo>
                  <a:pt x="393" y="352"/>
                  <a:pt x="393" y="352"/>
                  <a:pt x="393" y="352"/>
                </a:cubicBezTo>
                <a:cubicBezTo>
                  <a:pt x="310" y="352"/>
                  <a:pt x="310" y="352"/>
                  <a:pt x="310" y="352"/>
                </a:cubicBezTo>
                <a:cubicBezTo>
                  <a:pt x="329" y="138"/>
                  <a:pt x="329" y="138"/>
                  <a:pt x="329" y="138"/>
                </a:cubicBezTo>
                <a:lnTo>
                  <a:pt x="364" y="138"/>
                </a:lnTo>
                <a:close/>
                <a:moveTo>
                  <a:pt x="213" y="233"/>
                </a:moveTo>
                <a:cubicBezTo>
                  <a:pt x="213" y="352"/>
                  <a:pt x="213" y="352"/>
                  <a:pt x="213" y="352"/>
                </a:cubicBezTo>
                <a:cubicBezTo>
                  <a:pt x="289" y="352"/>
                  <a:pt x="289" y="352"/>
                  <a:pt x="289" y="352"/>
                </a:cubicBezTo>
                <a:cubicBezTo>
                  <a:pt x="294" y="287"/>
                  <a:pt x="294" y="287"/>
                  <a:pt x="294" y="287"/>
                </a:cubicBezTo>
                <a:cubicBezTo>
                  <a:pt x="294" y="286"/>
                  <a:pt x="293" y="286"/>
                  <a:pt x="292" y="286"/>
                </a:cubicBezTo>
                <a:lnTo>
                  <a:pt x="213" y="233"/>
                </a:lnTo>
                <a:close/>
                <a:moveTo>
                  <a:pt x="117" y="352"/>
                </a:moveTo>
                <a:cubicBezTo>
                  <a:pt x="192" y="352"/>
                  <a:pt x="192" y="352"/>
                  <a:pt x="192" y="352"/>
                </a:cubicBezTo>
                <a:cubicBezTo>
                  <a:pt x="192" y="283"/>
                  <a:pt x="192" y="283"/>
                  <a:pt x="192" y="283"/>
                </a:cubicBezTo>
                <a:cubicBezTo>
                  <a:pt x="117" y="233"/>
                  <a:pt x="117" y="233"/>
                  <a:pt x="117" y="233"/>
                </a:cubicBezTo>
                <a:lnTo>
                  <a:pt x="117" y="35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361"/>
                </a:moveTo>
                <a:cubicBezTo>
                  <a:pt x="384" y="126"/>
                  <a:pt x="384" y="126"/>
                  <a:pt x="384" y="126"/>
                </a:cubicBezTo>
                <a:cubicBezTo>
                  <a:pt x="383" y="121"/>
                  <a:pt x="378" y="117"/>
                  <a:pt x="373" y="117"/>
                </a:cubicBezTo>
                <a:cubicBezTo>
                  <a:pt x="320" y="117"/>
                  <a:pt x="320" y="117"/>
                  <a:pt x="320" y="117"/>
                </a:cubicBezTo>
                <a:cubicBezTo>
                  <a:pt x="314" y="117"/>
                  <a:pt x="310" y="121"/>
                  <a:pt x="309" y="127"/>
                </a:cubicBezTo>
                <a:cubicBezTo>
                  <a:pt x="297" y="263"/>
                  <a:pt x="297" y="263"/>
                  <a:pt x="297" y="263"/>
                </a:cubicBezTo>
                <a:cubicBezTo>
                  <a:pt x="208" y="204"/>
                  <a:pt x="208" y="204"/>
                  <a:pt x="208" y="204"/>
                </a:cubicBezTo>
                <a:cubicBezTo>
                  <a:pt x="205" y="202"/>
                  <a:pt x="201" y="202"/>
                  <a:pt x="197" y="204"/>
                </a:cubicBezTo>
                <a:cubicBezTo>
                  <a:pt x="194" y="205"/>
                  <a:pt x="192" y="209"/>
                  <a:pt x="192" y="213"/>
                </a:cubicBezTo>
                <a:cubicBezTo>
                  <a:pt x="192" y="257"/>
                  <a:pt x="192" y="257"/>
                  <a:pt x="192" y="257"/>
                </a:cubicBezTo>
                <a:cubicBezTo>
                  <a:pt x="112" y="204"/>
                  <a:pt x="112" y="204"/>
                  <a:pt x="112" y="204"/>
                </a:cubicBezTo>
                <a:cubicBezTo>
                  <a:pt x="109" y="202"/>
                  <a:pt x="105" y="202"/>
                  <a:pt x="101" y="204"/>
                </a:cubicBezTo>
                <a:cubicBezTo>
                  <a:pt x="98" y="205"/>
                  <a:pt x="96" y="209"/>
                  <a:pt x="96" y="213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08" y="373"/>
                  <a:pt x="411" y="372"/>
                  <a:pt x="413" y="369"/>
                </a:cubicBezTo>
                <a:cubicBezTo>
                  <a:pt x="415" y="367"/>
                  <a:pt x="416" y="364"/>
                  <a:pt x="416" y="36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8" name="Freeform 5">
            <a:extLst>
              <a:ext uri="{FF2B5EF4-FFF2-40B4-BE49-F238E27FC236}">
                <a16:creationId xmlns:a16="http://schemas.microsoft.com/office/drawing/2014/main" id="{A9CA0108-F959-4FB1-B84F-89AD81B37C3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901365" y="5256001"/>
            <a:ext cx="695893" cy="695895"/>
          </a:xfrm>
          <a:custGeom>
            <a:avLst/>
            <a:gdLst>
              <a:gd name="T0" fmla="*/ 341 w 512"/>
              <a:gd name="T1" fmla="*/ 232 h 512"/>
              <a:gd name="T2" fmla="*/ 373 w 512"/>
              <a:gd name="T3" fmla="*/ 200 h 512"/>
              <a:gd name="T4" fmla="*/ 364 w 512"/>
              <a:gd name="T5" fmla="*/ 237 h 512"/>
              <a:gd name="T6" fmla="*/ 364 w 512"/>
              <a:gd name="T7" fmla="*/ 237 h 512"/>
              <a:gd name="T8" fmla="*/ 354 w 512"/>
              <a:gd name="T9" fmla="*/ 249 h 512"/>
              <a:gd name="T10" fmla="*/ 288 w 512"/>
              <a:gd name="T11" fmla="*/ 264 h 512"/>
              <a:gd name="T12" fmla="*/ 276 w 512"/>
              <a:gd name="T13" fmla="*/ 267 h 512"/>
              <a:gd name="T14" fmla="*/ 167 w 512"/>
              <a:gd name="T15" fmla="*/ 376 h 512"/>
              <a:gd name="T16" fmla="*/ 137 w 512"/>
              <a:gd name="T17" fmla="*/ 376 h 512"/>
              <a:gd name="T18" fmla="*/ 131 w 512"/>
              <a:gd name="T19" fmla="*/ 361 h 512"/>
              <a:gd name="T20" fmla="*/ 137 w 512"/>
              <a:gd name="T21" fmla="*/ 346 h 512"/>
              <a:gd name="T22" fmla="*/ 246 w 512"/>
              <a:gd name="T23" fmla="*/ 237 h 512"/>
              <a:gd name="T24" fmla="*/ 249 w 512"/>
              <a:gd name="T25" fmla="*/ 225 h 512"/>
              <a:gd name="T26" fmla="*/ 264 w 512"/>
              <a:gd name="T27" fmla="*/ 159 h 512"/>
              <a:gd name="T28" fmla="*/ 276 w 512"/>
              <a:gd name="T29" fmla="*/ 149 h 512"/>
              <a:gd name="T30" fmla="*/ 309 w 512"/>
              <a:gd name="T31" fmla="*/ 140 h 512"/>
              <a:gd name="T32" fmla="*/ 312 w 512"/>
              <a:gd name="T33" fmla="*/ 140 h 512"/>
              <a:gd name="T34" fmla="*/ 281 w 512"/>
              <a:gd name="T35" fmla="*/ 171 h 512"/>
              <a:gd name="T36" fmla="*/ 280 w 512"/>
              <a:gd name="T37" fmla="*/ 185 h 512"/>
              <a:gd name="T38" fmla="*/ 301 w 512"/>
              <a:gd name="T39" fmla="*/ 211 h 512"/>
              <a:gd name="T40" fmla="*/ 328 w 512"/>
              <a:gd name="T41" fmla="*/ 233 h 512"/>
              <a:gd name="T42" fmla="*/ 341 w 512"/>
              <a:gd name="T43" fmla="*/ 232 h 512"/>
              <a:gd name="T44" fmla="*/ 512 w 512"/>
              <a:gd name="T45" fmla="*/ 256 h 512"/>
              <a:gd name="T46" fmla="*/ 256 w 512"/>
              <a:gd name="T47" fmla="*/ 512 h 512"/>
              <a:gd name="T48" fmla="*/ 0 w 512"/>
              <a:gd name="T49" fmla="*/ 256 h 512"/>
              <a:gd name="T50" fmla="*/ 256 w 512"/>
              <a:gd name="T51" fmla="*/ 0 h 512"/>
              <a:gd name="T52" fmla="*/ 512 w 512"/>
              <a:gd name="T53" fmla="*/ 256 h 512"/>
              <a:gd name="T54" fmla="*/ 389 w 512"/>
              <a:gd name="T55" fmla="*/ 175 h 512"/>
              <a:gd name="T56" fmla="*/ 382 w 512"/>
              <a:gd name="T57" fmla="*/ 169 h 512"/>
              <a:gd name="T58" fmla="*/ 372 w 512"/>
              <a:gd name="T59" fmla="*/ 171 h 512"/>
              <a:gd name="T60" fmla="*/ 333 w 512"/>
              <a:gd name="T61" fmla="*/ 210 h 512"/>
              <a:gd name="T62" fmla="*/ 317 w 512"/>
              <a:gd name="T63" fmla="*/ 196 h 512"/>
              <a:gd name="T64" fmla="*/ 303 w 512"/>
              <a:gd name="T65" fmla="*/ 180 h 512"/>
              <a:gd name="T66" fmla="*/ 342 w 512"/>
              <a:gd name="T67" fmla="*/ 141 h 512"/>
              <a:gd name="T68" fmla="*/ 344 w 512"/>
              <a:gd name="T69" fmla="*/ 131 h 512"/>
              <a:gd name="T70" fmla="*/ 338 w 512"/>
              <a:gd name="T71" fmla="*/ 124 h 512"/>
              <a:gd name="T72" fmla="*/ 265 w 512"/>
              <a:gd name="T73" fmla="*/ 131 h 512"/>
              <a:gd name="T74" fmla="*/ 249 w 512"/>
              <a:gd name="T75" fmla="*/ 144 h 512"/>
              <a:gd name="T76" fmla="*/ 227 w 512"/>
              <a:gd name="T77" fmla="*/ 226 h 512"/>
              <a:gd name="T78" fmla="*/ 122 w 512"/>
              <a:gd name="T79" fmla="*/ 331 h 512"/>
              <a:gd name="T80" fmla="*/ 109 w 512"/>
              <a:gd name="T81" fmla="*/ 361 h 512"/>
              <a:gd name="T82" fmla="*/ 122 w 512"/>
              <a:gd name="T83" fmla="*/ 391 h 512"/>
              <a:gd name="T84" fmla="*/ 152 w 512"/>
              <a:gd name="T85" fmla="*/ 404 h 512"/>
              <a:gd name="T86" fmla="*/ 182 w 512"/>
              <a:gd name="T87" fmla="*/ 391 h 512"/>
              <a:gd name="T88" fmla="*/ 287 w 512"/>
              <a:gd name="T89" fmla="*/ 286 h 512"/>
              <a:gd name="T90" fmla="*/ 369 w 512"/>
              <a:gd name="T91" fmla="*/ 264 h 512"/>
              <a:gd name="T92" fmla="*/ 382 w 512"/>
              <a:gd name="T93" fmla="*/ 248 h 512"/>
              <a:gd name="T94" fmla="*/ 389 w 512"/>
              <a:gd name="T95" fmla="*/ 17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2" h="512">
                <a:moveTo>
                  <a:pt x="341" y="232"/>
                </a:moveTo>
                <a:cubicBezTo>
                  <a:pt x="373" y="200"/>
                  <a:pt x="373" y="200"/>
                  <a:pt x="373" y="200"/>
                </a:cubicBezTo>
                <a:cubicBezTo>
                  <a:pt x="374" y="213"/>
                  <a:pt x="370" y="226"/>
                  <a:pt x="364" y="237"/>
                </a:cubicBezTo>
                <a:cubicBezTo>
                  <a:pt x="364" y="237"/>
                  <a:pt x="364" y="237"/>
                  <a:pt x="364" y="237"/>
                </a:cubicBezTo>
                <a:cubicBezTo>
                  <a:pt x="361" y="242"/>
                  <a:pt x="358" y="246"/>
                  <a:pt x="354" y="249"/>
                </a:cubicBezTo>
                <a:cubicBezTo>
                  <a:pt x="337" y="267"/>
                  <a:pt x="311" y="272"/>
                  <a:pt x="288" y="264"/>
                </a:cubicBezTo>
                <a:cubicBezTo>
                  <a:pt x="284" y="263"/>
                  <a:pt x="279" y="264"/>
                  <a:pt x="276" y="267"/>
                </a:cubicBezTo>
                <a:cubicBezTo>
                  <a:pt x="167" y="376"/>
                  <a:pt x="167" y="376"/>
                  <a:pt x="167" y="376"/>
                </a:cubicBezTo>
                <a:cubicBezTo>
                  <a:pt x="159" y="384"/>
                  <a:pt x="145" y="384"/>
                  <a:pt x="137" y="376"/>
                </a:cubicBezTo>
                <a:cubicBezTo>
                  <a:pt x="133" y="372"/>
                  <a:pt x="131" y="367"/>
                  <a:pt x="131" y="361"/>
                </a:cubicBezTo>
                <a:cubicBezTo>
                  <a:pt x="131" y="355"/>
                  <a:pt x="133" y="350"/>
                  <a:pt x="137" y="346"/>
                </a:cubicBezTo>
                <a:cubicBezTo>
                  <a:pt x="246" y="237"/>
                  <a:pt x="246" y="237"/>
                  <a:pt x="246" y="237"/>
                </a:cubicBezTo>
                <a:cubicBezTo>
                  <a:pt x="249" y="234"/>
                  <a:pt x="250" y="229"/>
                  <a:pt x="249" y="225"/>
                </a:cubicBezTo>
                <a:cubicBezTo>
                  <a:pt x="241" y="202"/>
                  <a:pt x="246" y="176"/>
                  <a:pt x="264" y="159"/>
                </a:cubicBezTo>
                <a:cubicBezTo>
                  <a:pt x="267" y="155"/>
                  <a:pt x="271" y="152"/>
                  <a:pt x="276" y="149"/>
                </a:cubicBezTo>
                <a:cubicBezTo>
                  <a:pt x="286" y="143"/>
                  <a:pt x="297" y="140"/>
                  <a:pt x="309" y="140"/>
                </a:cubicBezTo>
                <a:cubicBezTo>
                  <a:pt x="310" y="140"/>
                  <a:pt x="311" y="140"/>
                  <a:pt x="312" y="140"/>
                </a:cubicBezTo>
                <a:cubicBezTo>
                  <a:pt x="281" y="171"/>
                  <a:pt x="281" y="171"/>
                  <a:pt x="281" y="171"/>
                </a:cubicBezTo>
                <a:cubicBezTo>
                  <a:pt x="277" y="175"/>
                  <a:pt x="277" y="181"/>
                  <a:pt x="280" y="185"/>
                </a:cubicBezTo>
                <a:cubicBezTo>
                  <a:pt x="286" y="194"/>
                  <a:pt x="293" y="203"/>
                  <a:pt x="301" y="211"/>
                </a:cubicBezTo>
                <a:cubicBezTo>
                  <a:pt x="310" y="220"/>
                  <a:pt x="318" y="227"/>
                  <a:pt x="328" y="233"/>
                </a:cubicBezTo>
                <a:cubicBezTo>
                  <a:pt x="332" y="236"/>
                  <a:pt x="338" y="235"/>
                  <a:pt x="341" y="232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5" y="512"/>
                  <a:pt x="0" y="397"/>
                  <a:pt x="0" y="256"/>
                </a:cubicBezTo>
                <a:cubicBezTo>
                  <a:pt x="0" y="114"/>
                  <a:pt x="115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9" y="175"/>
                </a:moveTo>
                <a:cubicBezTo>
                  <a:pt x="388" y="172"/>
                  <a:pt x="385" y="169"/>
                  <a:pt x="382" y="169"/>
                </a:cubicBezTo>
                <a:cubicBezTo>
                  <a:pt x="378" y="168"/>
                  <a:pt x="374" y="169"/>
                  <a:pt x="372" y="171"/>
                </a:cubicBezTo>
                <a:cubicBezTo>
                  <a:pt x="333" y="210"/>
                  <a:pt x="333" y="210"/>
                  <a:pt x="333" y="210"/>
                </a:cubicBezTo>
                <a:cubicBezTo>
                  <a:pt x="327" y="206"/>
                  <a:pt x="322" y="201"/>
                  <a:pt x="317" y="196"/>
                </a:cubicBezTo>
                <a:cubicBezTo>
                  <a:pt x="311" y="191"/>
                  <a:pt x="307" y="186"/>
                  <a:pt x="303" y="180"/>
                </a:cubicBezTo>
                <a:cubicBezTo>
                  <a:pt x="342" y="141"/>
                  <a:pt x="342" y="141"/>
                  <a:pt x="342" y="141"/>
                </a:cubicBezTo>
                <a:cubicBezTo>
                  <a:pt x="344" y="139"/>
                  <a:pt x="345" y="135"/>
                  <a:pt x="344" y="131"/>
                </a:cubicBezTo>
                <a:cubicBezTo>
                  <a:pt x="344" y="128"/>
                  <a:pt x="341" y="125"/>
                  <a:pt x="338" y="124"/>
                </a:cubicBezTo>
                <a:cubicBezTo>
                  <a:pt x="313" y="115"/>
                  <a:pt x="287" y="118"/>
                  <a:pt x="265" y="131"/>
                </a:cubicBezTo>
                <a:cubicBezTo>
                  <a:pt x="259" y="135"/>
                  <a:pt x="253" y="139"/>
                  <a:pt x="249" y="144"/>
                </a:cubicBezTo>
                <a:cubicBezTo>
                  <a:pt x="227" y="165"/>
                  <a:pt x="219" y="197"/>
                  <a:pt x="227" y="226"/>
                </a:cubicBezTo>
                <a:cubicBezTo>
                  <a:pt x="122" y="331"/>
                  <a:pt x="122" y="331"/>
                  <a:pt x="122" y="331"/>
                </a:cubicBezTo>
                <a:cubicBezTo>
                  <a:pt x="114" y="339"/>
                  <a:pt x="109" y="350"/>
                  <a:pt x="109" y="361"/>
                </a:cubicBezTo>
                <a:cubicBezTo>
                  <a:pt x="109" y="372"/>
                  <a:pt x="114" y="383"/>
                  <a:pt x="122" y="391"/>
                </a:cubicBezTo>
                <a:cubicBezTo>
                  <a:pt x="130" y="399"/>
                  <a:pt x="140" y="404"/>
                  <a:pt x="152" y="404"/>
                </a:cubicBezTo>
                <a:cubicBezTo>
                  <a:pt x="163" y="404"/>
                  <a:pt x="174" y="399"/>
                  <a:pt x="182" y="391"/>
                </a:cubicBezTo>
                <a:cubicBezTo>
                  <a:pt x="287" y="286"/>
                  <a:pt x="287" y="286"/>
                  <a:pt x="287" y="286"/>
                </a:cubicBezTo>
                <a:cubicBezTo>
                  <a:pt x="316" y="294"/>
                  <a:pt x="348" y="286"/>
                  <a:pt x="369" y="264"/>
                </a:cubicBezTo>
                <a:cubicBezTo>
                  <a:pt x="374" y="260"/>
                  <a:pt x="378" y="254"/>
                  <a:pt x="382" y="248"/>
                </a:cubicBezTo>
                <a:cubicBezTo>
                  <a:pt x="395" y="226"/>
                  <a:pt x="398" y="200"/>
                  <a:pt x="389" y="17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389941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Placeholder 9"/>
          <p:cNvSpPr txBox="1">
            <a:spLocks/>
          </p:cNvSpPr>
          <p:nvPr/>
        </p:nvSpPr>
        <p:spPr>
          <a:xfrm>
            <a:off x="364276" y="783962"/>
            <a:ext cx="8352000" cy="4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 dirty="0">
                <a:solidFill>
                  <a:srgbClr val="86BC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etodologia de Trabalho</a:t>
            </a:r>
          </a:p>
        </p:txBody>
      </p:sp>
      <p:sp>
        <p:nvSpPr>
          <p:cNvPr id="64" name="Title 8"/>
          <p:cNvSpPr txBox="1">
            <a:spLocks/>
          </p:cNvSpPr>
          <p:nvPr/>
        </p:nvSpPr>
        <p:spPr>
          <a:xfrm>
            <a:off x="364276" y="314470"/>
            <a:ext cx="9523043" cy="4694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Projeto Integrador II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1322F16-98BF-4ADB-A3C1-EDC4EC6151AB}"/>
              </a:ext>
            </a:extLst>
          </p:cNvPr>
          <p:cNvSpPr txBox="1"/>
          <p:nvPr/>
        </p:nvSpPr>
        <p:spPr>
          <a:xfrm>
            <a:off x="473725" y="1564394"/>
            <a:ext cx="4880473" cy="459841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pt-BR" sz="1600" b="1" dirty="0">
                <a:solidFill>
                  <a:schemeClr val="accent1"/>
                </a:solidFill>
              </a:rPr>
              <a:t>Base Brasil.csv</a:t>
            </a:r>
          </a:p>
          <a:p>
            <a:pPr algn="ctr">
              <a:spcBef>
                <a:spcPts val="600"/>
              </a:spcBef>
              <a:buSzPct val="100000"/>
            </a:pPr>
            <a:endParaRPr lang="pt-BR" sz="1600" b="1" dirty="0">
              <a:solidFill>
                <a:srgbClr val="313131"/>
              </a:solidFill>
            </a:endParaRPr>
          </a:p>
          <a:p>
            <a:pPr marL="342900" indent="-342900" algn="just">
              <a:spcBef>
                <a:spcPts val="600"/>
              </a:spcBef>
              <a:buSzPct val="100000"/>
              <a:buAutoNum type="arabicParenR"/>
            </a:pPr>
            <a:r>
              <a:rPr lang="pt-BR" sz="1600" i="1" dirty="0">
                <a:solidFill>
                  <a:srgbClr val="313131"/>
                </a:solidFill>
              </a:rPr>
              <a:t>Qual é o sexo biológico que nasce mais a cada década passada?</a:t>
            </a:r>
          </a:p>
          <a:p>
            <a:pPr marL="342900" indent="-342900" algn="just">
              <a:spcBef>
                <a:spcPts val="600"/>
              </a:spcBef>
              <a:buSzPct val="100000"/>
              <a:buAutoNum type="arabicParenR"/>
            </a:pPr>
            <a:endParaRPr lang="pt-BR" sz="1600" i="1" dirty="0">
              <a:solidFill>
                <a:srgbClr val="313131"/>
              </a:solidFill>
            </a:endParaRPr>
          </a:p>
          <a:p>
            <a:pPr marL="342900" indent="-342900" algn="just">
              <a:spcBef>
                <a:spcPts val="600"/>
              </a:spcBef>
              <a:buSzPct val="100000"/>
              <a:buAutoNum type="arabicParenR"/>
            </a:pPr>
            <a:r>
              <a:rPr lang="pt-BR" sz="1600" i="1" dirty="0">
                <a:solidFill>
                  <a:srgbClr val="313131"/>
                </a:solidFill>
              </a:rPr>
              <a:t>Qual o sexo biológico com população em cada década?</a:t>
            </a:r>
          </a:p>
          <a:p>
            <a:pPr marL="342900" indent="-342900" algn="just">
              <a:spcBef>
                <a:spcPts val="600"/>
              </a:spcBef>
              <a:buSzPct val="100000"/>
              <a:buAutoNum type="arabicParenR"/>
            </a:pPr>
            <a:endParaRPr lang="pt-BR" sz="1600" i="1" dirty="0">
              <a:solidFill>
                <a:srgbClr val="313131"/>
              </a:solidFill>
            </a:endParaRPr>
          </a:p>
          <a:p>
            <a:pPr marL="342900" indent="-342900" algn="just">
              <a:spcBef>
                <a:spcPts val="600"/>
              </a:spcBef>
              <a:buSzPct val="100000"/>
              <a:buAutoNum type="arabicParenR"/>
            </a:pPr>
            <a:r>
              <a:rPr lang="pt-BR" sz="1600" i="1" dirty="0">
                <a:solidFill>
                  <a:srgbClr val="313131"/>
                </a:solidFill>
              </a:rPr>
              <a:t>Qual o sexo biológico com maior população de idosos de 80 anos ou mais?</a:t>
            </a:r>
          </a:p>
          <a:p>
            <a:pPr marL="342900" indent="-342900" algn="just">
              <a:spcBef>
                <a:spcPts val="600"/>
              </a:spcBef>
              <a:buSzPct val="100000"/>
              <a:buAutoNum type="arabicParenR"/>
            </a:pPr>
            <a:endParaRPr lang="pt-BR" sz="1600" i="1" dirty="0">
              <a:solidFill>
                <a:srgbClr val="313131"/>
              </a:solidFill>
            </a:endParaRPr>
          </a:p>
          <a:p>
            <a:pPr marL="342900" indent="-342900" algn="just">
              <a:spcBef>
                <a:spcPts val="600"/>
              </a:spcBef>
              <a:buSzPct val="100000"/>
              <a:buAutoNum type="arabicParenR"/>
            </a:pPr>
            <a:r>
              <a:rPr lang="pt-BR" sz="1600" i="1" dirty="0">
                <a:solidFill>
                  <a:srgbClr val="313131"/>
                </a:solidFill>
              </a:rPr>
              <a:t>Qual a expectativa de vida por década? </a:t>
            </a:r>
          </a:p>
          <a:p>
            <a:pPr algn="ctr">
              <a:spcBef>
                <a:spcPts val="600"/>
              </a:spcBef>
              <a:buSzPct val="100000"/>
            </a:pPr>
            <a:endParaRPr lang="pt-BR" sz="1600" b="1" dirty="0">
              <a:solidFill>
                <a:srgbClr val="31313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0F142-BC94-4E90-B63C-1AC1D01ADCFE}"/>
              </a:ext>
            </a:extLst>
          </p:cNvPr>
          <p:cNvSpPr txBox="1"/>
          <p:nvPr/>
        </p:nvSpPr>
        <p:spPr>
          <a:xfrm>
            <a:off x="6837802" y="1564394"/>
            <a:ext cx="4880473" cy="4509643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pt-BR" sz="1600" b="1" dirty="0">
                <a:solidFill>
                  <a:schemeClr val="accent2"/>
                </a:solidFill>
              </a:rPr>
              <a:t>Base Births.csv</a:t>
            </a:r>
          </a:p>
          <a:p>
            <a:pPr algn="just">
              <a:spcBef>
                <a:spcPts val="600"/>
              </a:spcBef>
              <a:buSzPct val="100000"/>
            </a:pPr>
            <a:endParaRPr lang="pt-BR" sz="1600" i="1" dirty="0">
              <a:solidFill>
                <a:srgbClr val="313131"/>
              </a:solidFill>
            </a:endParaRPr>
          </a:p>
          <a:p>
            <a:pPr marL="342900" indent="-342900" algn="just">
              <a:spcBef>
                <a:spcPts val="600"/>
              </a:spcBef>
              <a:buSzPct val="100000"/>
              <a:buAutoNum type="arabicParenR"/>
            </a:pPr>
            <a:r>
              <a:rPr lang="pt-BR" sz="1600" i="1" dirty="0">
                <a:solidFill>
                  <a:srgbClr val="313131"/>
                </a:solidFill>
              </a:rPr>
              <a:t>Em qual ano houve mais nascimentos?</a:t>
            </a:r>
          </a:p>
          <a:p>
            <a:pPr marL="342900" indent="-342900" algn="just">
              <a:spcBef>
                <a:spcPts val="600"/>
              </a:spcBef>
              <a:buSzPct val="100000"/>
              <a:buAutoNum type="arabicParenR"/>
            </a:pPr>
            <a:endParaRPr lang="pt-BR" sz="1600" i="1" dirty="0">
              <a:solidFill>
                <a:srgbClr val="313131"/>
              </a:solidFill>
            </a:endParaRPr>
          </a:p>
          <a:p>
            <a:pPr marL="342900" indent="-342900" algn="just">
              <a:spcBef>
                <a:spcPts val="600"/>
              </a:spcBef>
              <a:buSzPct val="100000"/>
              <a:buAutoNum type="arabicParenR"/>
            </a:pPr>
            <a:r>
              <a:rPr lang="pt-BR" sz="1600" i="1" dirty="0">
                <a:solidFill>
                  <a:srgbClr val="313131"/>
                </a:solidFill>
              </a:rPr>
              <a:t>Em qual ano teve menos nascimentos?</a:t>
            </a:r>
          </a:p>
          <a:p>
            <a:pPr marL="342900" indent="-342900" algn="just">
              <a:spcBef>
                <a:spcPts val="600"/>
              </a:spcBef>
              <a:buSzPct val="100000"/>
              <a:buAutoNum type="arabicParenR"/>
            </a:pPr>
            <a:endParaRPr lang="pt-BR" sz="1600" i="1" dirty="0">
              <a:solidFill>
                <a:srgbClr val="313131"/>
              </a:solidFill>
            </a:endParaRPr>
          </a:p>
          <a:p>
            <a:pPr marL="342900" indent="-342900" algn="just">
              <a:spcBef>
                <a:spcPts val="600"/>
              </a:spcBef>
              <a:buSzPct val="100000"/>
              <a:buAutoNum type="arabicParenR"/>
            </a:pPr>
            <a:r>
              <a:rPr lang="pt-BR" sz="1600" i="1" dirty="0">
                <a:solidFill>
                  <a:srgbClr val="313131"/>
                </a:solidFill>
              </a:rPr>
              <a:t>Qual ano teve mais nascimentos do sexo feminino?</a:t>
            </a:r>
          </a:p>
          <a:p>
            <a:pPr marL="342900" indent="-342900" algn="just">
              <a:spcBef>
                <a:spcPts val="600"/>
              </a:spcBef>
              <a:buSzPct val="100000"/>
              <a:buAutoNum type="arabicParenR"/>
            </a:pPr>
            <a:endParaRPr lang="pt-BR" sz="1600" i="1" dirty="0">
              <a:solidFill>
                <a:srgbClr val="313131"/>
              </a:solidFill>
            </a:endParaRPr>
          </a:p>
          <a:p>
            <a:pPr marL="342900" indent="-342900" algn="just">
              <a:spcBef>
                <a:spcPts val="600"/>
              </a:spcBef>
              <a:buSzPct val="100000"/>
              <a:buAutoNum type="arabicParenR"/>
            </a:pPr>
            <a:r>
              <a:rPr lang="pt-BR" sz="1600" i="1" dirty="0">
                <a:solidFill>
                  <a:srgbClr val="313131"/>
                </a:solidFill>
              </a:rPr>
              <a:t>Qual ano teve mais nascimentos do sexo masculino?</a:t>
            </a:r>
          </a:p>
          <a:p>
            <a:pPr marL="342900" indent="-342900" algn="just">
              <a:spcBef>
                <a:spcPts val="600"/>
              </a:spcBef>
              <a:buSzPct val="100000"/>
              <a:buAutoNum type="arabicParenR"/>
            </a:pPr>
            <a:endParaRPr lang="pt-BR" sz="1600" i="1" dirty="0">
              <a:solidFill>
                <a:srgbClr val="313131"/>
              </a:solidFill>
            </a:endParaRPr>
          </a:p>
          <a:p>
            <a:pPr marL="342900" indent="-342900" algn="just">
              <a:spcBef>
                <a:spcPts val="600"/>
              </a:spcBef>
              <a:buSzPct val="100000"/>
              <a:buAutoNum type="arabicParenR"/>
            </a:pPr>
            <a:r>
              <a:rPr lang="pt-BR" sz="1600" i="1" dirty="0">
                <a:solidFill>
                  <a:srgbClr val="313131"/>
                </a:solidFill>
              </a:rPr>
              <a:t>Qual mês de qual ano teve mais nascimentos? </a:t>
            </a:r>
          </a:p>
        </p:txBody>
      </p:sp>
    </p:spTree>
    <p:extLst>
      <p:ext uri="{BB962C8B-B14F-4D97-AF65-F5344CB8AC3E}">
        <p14:creationId xmlns:p14="http://schemas.microsoft.com/office/powerpoint/2010/main" val="313613328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Placeholder 9"/>
          <p:cNvSpPr txBox="1">
            <a:spLocks/>
          </p:cNvSpPr>
          <p:nvPr/>
        </p:nvSpPr>
        <p:spPr>
          <a:xfrm>
            <a:off x="364276" y="783962"/>
            <a:ext cx="8352000" cy="4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 dirty="0">
                <a:solidFill>
                  <a:srgbClr val="86BC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sultados – Base Brasil</a:t>
            </a:r>
          </a:p>
        </p:txBody>
      </p:sp>
      <p:sp>
        <p:nvSpPr>
          <p:cNvPr id="64" name="Title 8"/>
          <p:cNvSpPr txBox="1">
            <a:spLocks/>
          </p:cNvSpPr>
          <p:nvPr/>
        </p:nvSpPr>
        <p:spPr>
          <a:xfrm>
            <a:off x="364276" y="314470"/>
            <a:ext cx="9523043" cy="4694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Projeto Integrador II</a:t>
            </a:r>
          </a:p>
        </p:txBody>
      </p:sp>
      <p:sp>
        <p:nvSpPr>
          <p:cNvPr id="7" name="Text Box 10">
            <a:extLst>
              <a:ext uri="{FF2B5EF4-FFF2-40B4-BE49-F238E27FC236}">
                <a16:creationId xmlns:a16="http://schemas.microsoft.com/office/drawing/2014/main" id="{4904A154-FD5B-45D4-89B6-59D68A36F3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276" y="1304242"/>
            <a:ext cx="5315070" cy="36576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ctr" anchorCtr="0"/>
          <a:lstStyle/>
          <a:p>
            <a:pPr algn="just" defTabSz="957263" eaLnBrk="1" hangingPunct="1">
              <a:spcBef>
                <a:spcPts val="200"/>
              </a:spcBef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1) </a:t>
            </a:r>
            <a:r>
              <a:rPr lang="pt-BR" sz="1200" b="1" dirty="0">
                <a:latin typeface="Calibri" panose="020F0502020204030204" pitchFamily="34" charset="0"/>
                <a:cs typeface="Calibri" panose="020F0502020204030204" pitchFamily="34" charset="0"/>
              </a:rPr>
              <a:t>Qual é o sexo biológico que nasce mais a cada década passada?</a:t>
            </a:r>
            <a:endParaRPr 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B67E73B6-4E12-43E3-8C84-A4F51FBCF4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276" y="1658254"/>
            <a:ext cx="5315070" cy="723999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t" anchorCtr="0"/>
          <a:lstStyle/>
          <a:p>
            <a:pPr defTabSz="957263" eaLnBrk="1" hangingPunct="1">
              <a:spcBef>
                <a:spcPts val="200"/>
              </a:spcBef>
              <a:spcAft>
                <a:spcPts val="300"/>
              </a:spcAft>
            </a:pP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Com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podemos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observar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da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leitura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do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gráfic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abaix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em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todas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décadas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(1990, 2000 e 2010) o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sex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biológic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que mais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nasce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é o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masculin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vist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ser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o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sex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com mais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populaçã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da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faixa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etária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de 0 a 4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anos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9" name="Text Box 10">
            <a:extLst>
              <a:ext uri="{FF2B5EF4-FFF2-40B4-BE49-F238E27FC236}">
                <a16:creationId xmlns:a16="http://schemas.microsoft.com/office/drawing/2014/main" id="{B53DE608-3C15-4130-895C-A460A89560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2654" y="1304242"/>
            <a:ext cx="5315070" cy="36576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ctr" anchorCtr="0"/>
          <a:lstStyle/>
          <a:p>
            <a:pPr defTabSz="957263" eaLnBrk="1" hangingPunct="1">
              <a:spcBef>
                <a:spcPts val="200"/>
              </a:spcBef>
            </a:pPr>
            <a:r>
              <a:rPr lang="pt-BR" sz="1200" b="1" dirty="0">
                <a:latin typeface="Calibri" panose="020F0502020204030204" pitchFamily="34" charset="0"/>
                <a:cs typeface="Calibri" panose="020F0502020204030204" pitchFamily="34" charset="0"/>
              </a:rPr>
              <a:t>2) Qual o sexo biológico com população em cada década?</a:t>
            </a:r>
          </a:p>
        </p:txBody>
      </p:sp>
      <p:sp>
        <p:nvSpPr>
          <p:cNvPr id="10" name="Rectangle 11">
            <a:extLst>
              <a:ext uri="{FF2B5EF4-FFF2-40B4-BE49-F238E27FC236}">
                <a16:creationId xmlns:a16="http://schemas.microsoft.com/office/drawing/2014/main" id="{24C0A6EA-0EB5-407B-8CA4-A08F731FD8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2654" y="1658254"/>
            <a:ext cx="5315070" cy="723999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t" anchorCtr="0"/>
          <a:lstStyle/>
          <a:p>
            <a:pPr defTabSz="957263" eaLnBrk="1" hangingPunct="1">
              <a:spcBef>
                <a:spcPts val="200"/>
              </a:spcBef>
              <a:spcAft>
                <a:spcPts val="300"/>
              </a:spcAft>
            </a:pP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Com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podemos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observar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da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leitura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do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gráfic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abaix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em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todas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décadas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(1990, 2000 e 2010) o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sex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biológic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que com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maior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populaçã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é o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sex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feminin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15" name="Text Box 10">
            <a:extLst>
              <a:ext uri="{FF2B5EF4-FFF2-40B4-BE49-F238E27FC236}">
                <a16:creationId xmlns:a16="http://schemas.microsoft.com/office/drawing/2014/main" id="{DF3B3B3F-5752-4BBB-B4F4-FD60B81630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276" y="5370878"/>
            <a:ext cx="5315070" cy="36576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t" anchorCtr="0"/>
          <a:lstStyle/>
          <a:p>
            <a:pPr defTabSz="957263" eaLnBrk="1" hangingPunct="1">
              <a:spcBef>
                <a:spcPts val="200"/>
              </a:spcBef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Comando SQL</a:t>
            </a: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DE08401C-2D56-476C-B9DE-4360FC452F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641" y="5729092"/>
            <a:ext cx="5315070" cy="404800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t"/>
          <a:lstStyle/>
          <a:p>
            <a:pPr defTabSz="957998" eaLnBrk="1" hangingPunct="1">
              <a:spcBef>
                <a:spcPts val="200"/>
              </a:spcBef>
              <a:spcAft>
                <a:spcPts val="300"/>
              </a:spcAft>
              <a:defRPr/>
            </a:pPr>
            <a:r>
              <a:rPr lang="pt-BR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SELECT ano, populacao_homens_0_4, populacao_mulheres_0_4 FROM brasil</a:t>
            </a:r>
            <a:endParaRPr lang="en-US" sz="1200" i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 Box 10">
            <a:extLst>
              <a:ext uri="{FF2B5EF4-FFF2-40B4-BE49-F238E27FC236}">
                <a16:creationId xmlns:a16="http://schemas.microsoft.com/office/drawing/2014/main" id="{767DCE69-56E0-4BC1-BDC7-187E1D806C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2654" y="5370878"/>
            <a:ext cx="5315070" cy="36576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t" anchorCtr="0"/>
          <a:lstStyle/>
          <a:p>
            <a:pPr defTabSz="957263" eaLnBrk="1" hangingPunct="1">
              <a:spcBef>
                <a:spcPts val="200"/>
              </a:spcBef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Comando SQL</a:t>
            </a:r>
          </a:p>
        </p:txBody>
      </p:sp>
      <p:sp>
        <p:nvSpPr>
          <p:cNvPr id="18" name="Rectangle 11">
            <a:extLst>
              <a:ext uri="{FF2B5EF4-FFF2-40B4-BE49-F238E27FC236}">
                <a16:creationId xmlns:a16="http://schemas.microsoft.com/office/drawing/2014/main" id="{8578E926-402B-42B3-AAD6-B8C4C2D80F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2019" y="5729092"/>
            <a:ext cx="5315070" cy="404800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t"/>
          <a:lstStyle/>
          <a:p>
            <a:pPr defTabSz="957998" eaLnBrk="1" hangingPunct="1">
              <a:spcBef>
                <a:spcPts val="200"/>
              </a:spcBef>
              <a:spcAft>
                <a:spcPts val="300"/>
              </a:spcAft>
              <a:defRPr/>
            </a:pPr>
            <a:r>
              <a:rPr lang="pt-BR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SELECT ano, </a:t>
            </a:r>
            <a:r>
              <a:rPr lang="pt-BR" sz="1200" i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populacao_homens</a:t>
            </a:r>
            <a:r>
              <a:rPr lang="pt-BR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pt-BR" sz="1200" i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populacao_mulheres</a:t>
            </a:r>
            <a:r>
              <a:rPr lang="pt-BR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1200" i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from</a:t>
            </a:r>
            <a:r>
              <a:rPr lang="pt-BR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 brasil</a:t>
            </a:r>
            <a:endParaRPr lang="en-US" sz="1200" i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E2F4C9A-B314-487C-B28A-C42F87E025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428" y="2577179"/>
            <a:ext cx="6104302" cy="2511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C1933CE5-A23B-4442-8BE0-50E6266AB8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2019" y="2562552"/>
            <a:ext cx="5315070" cy="2490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18422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Placeholder 9"/>
          <p:cNvSpPr txBox="1">
            <a:spLocks/>
          </p:cNvSpPr>
          <p:nvPr/>
        </p:nvSpPr>
        <p:spPr>
          <a:xfrm>
            <a:off x="364276" y="783962"/>
            <a:ext cx="8352000" cy="4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 dirty="0">
                <a:solidFill>
                  <a:srgbClr val="86BC2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sultados – Base Brasil</a:t>
            </a:r>
          </a:p>
        </p:txBody>
      </p:sp>
      <p:sp>
        <p:nvSpPr>
          <p:cNvPr id="64" name="Title 8"/>
          <p:cNvSpPr txBox="1">
            <a:spLocks/>
          </p:cNvSpPr>
          <p:nvPr/>
        </p:nvSpPr>
        <p:spPr>
          <a:xfrm>
            <a:off x="364276" y="314470"/>
            <a:ext cx="9523043" cy="4694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Projeto Integrador II</a:t>
            </a:r>
          </a:p>
        </p:txBody>
      </p:sp>
      <p:sp>
        <p:nvSpPr>
          <p:cNvPr id="7" name="Text Box 10">
            <a:extLst>
              <a:ext uri="{FF2B5EF4-FFF2-40B4-BE49-F238E27FC236}">
                <a16:creationId xmlns:a16="http://schemas.microsoft.com/office/drawing/2014/main" id="{4904A154-FD5B-45D4-89B6-59D68A36F3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276" y="1304242"/>
            <a:ext cx="5315070" cy="36576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ctr" anchorCtr="0"/>
          <a:lstStyle/>
          <a:p>
            <a:pPr algn="just" defTabSz="957263" eaLnBrk="1" hangingPunct="1">
              <a:spcBef>
                <a:spcPts val="200"/>
              </a:spcBef>
            </a:pPr>
            <a:r>
              <a:rPr lang="pt-BR" sz="1200" b="1" dirty="0">
                <a:latin typeface="Calibri" panose="020F0502020204030204" pitchFamily="34" charset="0"/>
                <a:cs typeface="Calibri" panose="020F0502020204030204" pitchFamily="34" charset="0"/>
              </a:rPr>
              <a:t> 3) Qual o sexo biológico com maior população de idosos de 80 anos ou mais?</a:t>
            </a:r>
            <a:endParaRPr 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B67E73B6-4E12-43E3-8C84-A4F51FBCF4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276" y="1658254"/>
            <a:ext cx="5315070" cy="723999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t" anchorCtr="0"/>
          <a:lstStyle/>
          <a:p>
            <a:pPr defTabSz="957263" eaLnBrk="1" hangingPunct="1">
              <a:spcBef>
                <a:spcPts val="200"/>
              </a:spcBef>
              <a:spcAft>
                <a:spcPts val="300"/>
              </a:spcAft>
            </a:pP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Com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podemos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observar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da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leitura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do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gráfic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abaix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em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todas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décadas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(1990, 2000 e 2010) o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sex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biológic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com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maior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populaçã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na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faixa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etária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de 80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anos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ou mais é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sex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feminin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</p:txBody>
      </p:sp>
      <p:sp>
        <p:nvSpPr>
          <p:cNvPr id="9" name="Text Box 10">
            <a:extLst>
              <a:ext uri="{FF2B5EF4-FFF2-40B4-BE49-F238E27FC236}">
                <a16:creationId xmlns:a16="http://schemas.microsoft.com/office/drawing/2014/main" id="{B53DE608-3C15-4130-895C-A460A89560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2654" y="1304242"/>
            <a:ext cx="5315070" cy="36576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ctr" anchorCtr="0"/>
          <a:lstStyle/>
          <a:p>
            <a:pPr defTabSz="957263" eaLnBrk="1" hangingPunct="1">
              <a:spcBef>
                <a:spcPts val="200"/>
              </a:spcBef>
            </a:pPr>
            <a:r>
              <a:rPr lang="pt-BR" sz="1200" b="1" dirty="0">
                <a:latin typeface="Calibri" panose="020F0502020204030204" pitchFamily="34" charset="0"/>
                <a:cs typeface="Calibri" panose="020F0502020204030204" pitchFamily="34" charset="0"/>
              </a:rPr>
              <a:t>4) Qual a expectativa de vida por </a:t>
            </a:r>
            <a:r>
              <a:rPr lang="pt-BR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decada</a:t>
            </a:r>
            <a:r>
              <a:rPr lang="pt-BR" sz="1200" b="1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sp>
        <p:nvSpPr>
          <p:cNvPr id="10" name="Rectangle 11">
            <a:extLst>
              <a:ext uri="{FF2B5EF4-FFF2-40B4-BE49-F238E27FC236}">
                <a16:creationId xmlns:a16="http://schemas.microsoft.com/office/drawing/2014/main" id="{24C0A6EA-0EB5-407B-8CA4-A08F731FD8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2654" y="1658254"/>
            <a:ext cx="5315070" cy="723999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t" anchorCtr="0"/>
          <a:lstStyle/>
          <a:p>
            <a:pPr defTabSz="957263" eaLnBrk="1" hangingPunct="1">
              <a:spcBef>
                <a:spcPts val="200"/>
              </a:spcBef>
              <a:spcAft>
                <a:spcPts val="300"/>
              </a:spcAft>
            </a:pP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Com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podemos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observar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da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leitura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do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gráfic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abaix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, as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expectativas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para as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décadas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 de 1990, 2000 e 2010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são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respectivamente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, 65, 69 e 74 </a:t>
            </a:r>
            <a:r>
              <a:rPr lang="fr-F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anos</a:t>
            </a:r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</p:txBody>
      </p:sp>
      <p:sp>
        <p:nvSpPr>
          <p:cNvPr id="15" name="Text Box 10">
            <a:extLst>
              <a:ext uri="{FF2B5EF4-FFF2-40B4-BE49-F238E27FC236}">
                <a16:creationId xmlns:a16="http://schemas.microsoft.com/office/drawing/2014/main" id="{DF3B3B3F-5752-4BBB-B4F4-FD60B81630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276" y="5370878"/>
            <a:ext cx="5315070" cy="36576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t" anchorCtr="0"/>
          <a:lstStyle/>
          <a:p>
            <a:pPr defTabSz="957263" eaLnBrk="1" hangingPunct="1">
              <a:spcBef>
                <a:spcPts val="200"/>
              </a:spcBef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Comando SQL</a:t>
            </a: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DE08401C-2D56-476C-B9DE-4360FC452F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641" y="5729092"/>
            <a:ext cx="5315070" cy="404800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defTabSz="957998" eaLnBrk="1" hangingPunct="1">
              <a:spcBef>
                <a:spcPts val="200"/>
              </a:spcBef>
              <a:spcAft>
                <a:spcPts val="300"/>
              </a:spcAft>
              <a:defRPr/>
            </a:pPr>
            <a:r>
              <a:rPr lang="pt-BR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SELECT ano, populacao_homens_80_mais, populacao_mulheres_80_mais </a:t>
            </a:r>
            <a:r>
              <a:rPr lang="pt-BR" sz="1200" i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from</a:t>
            </a:r>
            <a:r>
              <a:rPr lang="pt-BR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 brasil</a:t>
            </a:r>
            <a:endParaRPr lang="en-US" sz="1200" i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 Box 10">
            <a:extLst>
              <a:ext uri="{FF2B5EF4-FFF2-40B4-BE49-F238E27FC236}">
                <a16:creationId xmlns:a16="http://schemas.microsoft.com/office/drawing/2014/main" id="{767DCE69-56E0-4BC1-BDC7-187E1D806C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2654" y="5370878"/>
            <a:ext cx="5315070" cy="36576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t" anchorCtr="0"/>
          <a:lstStyle/>
          <a:p>
            <a:pPr defTabSz="957263" eaLnBrk="1" hangingPunct="1">
              <a:spcBef>
                <a:spcPts val="200"/>
              </a:spcBef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Comando SQL</a:t>
            </a:r>
          </a:p>
        </p:txBody>
      </p:sp>
      <p:sp>
        <p:nvSpPr>
          <p:cNvPr id="18" name="Rectangle 11">
            <a:extLst>
              <a:ext uri="{FF2B5EF4-FFF2-40B4-BE49-F238E27FC236}">
                <a16:creationId xmlns:a16="http://schemas.microsoft.com/office/drawing/2014/main" id="{8578E926-402B-42B3-AAD6-B8C4C2D80F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2019" y="5729092"/>
            <a:ext cx="5315070" cy="404800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t"/>
          <a:lstStyle/>
          <a:p>
            <a:pPr defTabSz="957998" eaLnBrk="1" hangingPunct="1">
              <a:spcBef>
                <a:spcPts val="200"/>
              </a:spcBef>
              <a:spcAft>
                <a:spcPts val="300"/>
              </a:spcAft>
              <a:defRPr/>
            </a:pPr>
            <a:r>
              <a:rPr lang="pt-BR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SELECT ano, </a:t>
            </a:r>
            <a:r>
              <a:rPr lang="pt-BR" sz="1200" i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expectativa_vida</a:t>
            </a:r>
            <a:r>
              <a:rPr lang="pt-BR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1200" i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from</a:t>
            </a:r>
            <a:r>
              <a:rPr lang="pt-BR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 brasil</a:t>
            </a:r>
            <a:endParaRPr lang="en-US" sz="1200" i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4EBF3445-1E33-4187-9997-2438511806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641" y="2853645"/>
            <a:ext cx="5315070" cy="1989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0FBF8C2F-F572-4E0F-858B-BE57524BD3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2019" y="2538663"/>
            <a:ext cx="5315070" cy="2354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847863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Placeholder 9"/>
          <p:cNvSpPr txBox="1">
            <a:spLocks/>
          </p:cNvSpPr>
          <p:nvPr/>
        </p:nvSpPr>
        <p:spPr>
          <a:xfrm>
            <a:off x="364276" y="783962"/>
            <a:ext cx="8352000" cy="4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sultados – Base </a:t>
            </a:r>
            <a:r>
              <a:rPr lang="pt-BR" sz="2000" dirty="0" err="1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irths</a:t>
            </a:r>
            <a:endParaRPr lang="pt-BR" sz="2000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4" name="Title 8"/>
          <p:cNvSpPr txBox="1">
            <a:spLocks/>
          </p:cNvSpPr>
          <p:nvPr/>
        </p:nvSpPr>
        <p:spPr>
          <a:xfrm>
            <a:off x="364276" y="314470"/>
            <a:ext cx="9523043" cy="4694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Projeto Integrador II</a:t>
            </a:r>
          </a:p>
        </p:txBody>
      </p:sp>
      <p:sp>
        <p:nvSpPr>
          <p:cNvPr id="7" name="Text Box 10">
            <a:extLst>
              <a:ext uri="{FF2B5EF4-FFF2-40B4-BE49-F238E27FC236}">
                <a16:creationId xmlns:a16="http://schemas.microsoft.com/office/drawing/2014/main" id="{4904A154-FD5B-45D4-89B6-59D68A36F3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276" y="1304242"/>
            <a:ext cx="5315070" cy="36576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ctr" anchorCtr="0"/>
          <a:lstStyle/>
          <a:p>
            <a:pPr algn="just" defTabSz="957263" eaLnBrk="1" hangingPunct="1">
              <a:spcBef>
                <a:spcPts val="200"/>
              </a:spcBef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1) </a:t>
            </a:r>
            <a:r>
              <a:rPr lang="pt-BR" sz="1200" b="1" dirty="0">
                <a:latin typeface="Calibri" panose="020F0502020204030204" pitchFamily="34" charset="0"/>
                <a:cs typeface="Calibri" panose="020F0502020204030204" pitchFamily="34" charset="0"/>
              </a:rPr>
              <a:t>Em qual ano houve mais nascimentos?</a:t>
            </a:r>
            <a:endParaRPr 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B67E73B6-4E12-43E3-8C84-A4F51FBCF4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276" y="1658254"/>
            <a:ext cx="5315070" cy="723999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t" anchorCtr="0"/>
          <a:lstStyle/>
          <a:p>
            <a:pPr algn="just" defTabSz="957263">
              <a:spcBef>
                <a:spcPts val="200"/>
              </a:spcBef>
              <a:spcAft>
                <a:spcPts val="300"/>
              </a:spcAft>
            </a:pP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Como podemos observar da leitura do gráfico abaixo, o ano de 2007 foi o que apresentou a maior quantidade nascimentos, para o período de 1969 a 2008.</a:t>
            </a:r>
          </a:p>
          <a:p>
            <a:pPr algn="just" defTabSz="957263" eaLnBrk="1" hangingPunct="1">
              <a:spcBef>
                <a:spcPts val="200"/>
              </a:spcBef>
              <a:spcAft>
                <a:spcPts val="300"/>
              </a:spcAft>
            </a:pPr>
            <a:endParaRPr lang="pt-BR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Box 10">
            <a:extLst>
              <a:ext uri="{FF2B5EF4-FFF2-40B4-BE49-F238E27FC236}">
                <a16:creationId xmlns:a16="http://schemas.microsoft.com/office/drawing/2014/main" id="{B53DE608-3C15-4130-895C-A460A89560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2654" y="1304242"/>
            <a:ext cx="5315070" cy="36576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ctr" anchorCtr="0"/>
          <a:lstStyle/>
          <a:p>
            <a:pPr defTabSz="957263" eaLnBrk="1" hangingPunct="1">
              <a:spcBef>
                <a:spcPts val="200"/>
              </a:spcBef>
            </a:pPr>
            <a:r>
              <a:rPr lang="pt-BR" sz="1200" b="1" dirty="0">
                <a:latin typeface="Calibri" panose="020F0502020204030204" pitchFamily="34" charset="0"/>
                <a:cs typeface="Calibri" panose="020F0502020204030204" pitchFamily="34" charset="0"/>
              </a:rPr>
              <a:t>2) Qual ano teve menos nascimentos?</a:t>
            </a:r>
          </a:p>
        </p:txBody>
      </p:sp>
      <p:sp>
        <p:nvSpPr>
          <p:cNvPr id="10" name="Rectangle 11">
            <a:extLst>
              <a:ext uri="{FF2B5EF4-FFF2-40B4-BE49-F238E27FC236}">
                <a16:creationId xmlns:a16="http://schemas.microsoft.com/office/drawing/2014/main" id="{24C0A6EA-0EB5-407B-8CA4-A08F731FD8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2019" y="1658254"/>
            <a:ext cx="5315070" cy="723999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t" anchorCtr="0"/>
          <a:lstStyle/>
          <a:p>
            <a:pPr defTabSz="957263">
              <a:spcBef>
                <a:spcPts val="200"/>
              </a:spcBef>
              <a:spcAft>
                <a:spcPts val="300"/>
              </a:spcAft>
            </a:pP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Como podemos observar da leitura do gráfico abaixo, o ano de 1973 foi o que apresentou a menor quantidade de nascimentos, para o período de 1969 a 2008.</a:t>
            </a:r>
          </a:p>
        </p:txBody>
      </p:sp>
      <p:sp>
        <p:nvSpPr>
          <p:cNvPr id="15" name="Text Box 10">
            <a:extLst>
              <a:ext uri="{FF2B5EF4-FFF2-40B4-BE49-F238E27FC236}">
                <a16:creationId xmlns:a16="http://schemas.microsoft.com/office/drawing/2014/main" id="{DF3B3B3F-5752-4BBB-B4F4-FD60B81630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276" y="5370878"/>
            <a:ext cx="5315070" cy="36576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t" anchorCtr="0"/>
          <a:lstStyle/>
          <a:p>
            <a:pPr defTabSz="957263" eaLnBrk="1" hangingPunct="1">
              <a:spcBef>
                <a:spcPts val="200"/>
              </a:spcBef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Comando SQL</a:t>
            </a: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DE08401C-2D56-476C-B9DE-4360FC452F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641" y="5729092"/>
            <a:ext cx="5315070" cy="814438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t"/>
          <a:lstStyle/>
          <a:p>
            <a:pPr defTabSz="957998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SELECT year, SUM(births) FROM births</a:t>
            </a:r>
          </a:p>
          <a:p>
            <a:pPr defTabSz="957998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GROUP BY year</a:t>
            </a:r>
          </a:p>
          <a:p>
            <a:pPr defTabSz="957998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ORDER by SUM(births) DESC;</a:t>
            </a:r>
          </a:p>
        </p:txBody>
      </p:sp>
      <p:sp>
        <p:nvSpPr>
          <p:cNvPr id="17" name="Text Box 10">
            <a:extLst>
              <a:ext uri="{FF2B5EF4-FFF2-40B4-BE49-F238E27FC236}">
                <a16:creationId xmlns:a16="http://schemas.microsoft.com/office/drawing/2014/main" id="{767DCE69-56E0-4BC1-BDC7-187E1D806C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2654" y="5370878"/>
            <a:ext cx="5315070" cy="36576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88900" tIns="88900" rIns="88900" bIns="88900" anchor="t" anchorCtr="0"/>
          <a:lstStyle/>
          <a:p>
            <a:pPr defTabSz="957263" eaLnBrk="1" hangingPunct="1">
              <a:spcBef>
                <a:spcPts val="200"/>
              </a:spcBef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Comando SQL</a:t>
            </a:r>
          </a:p>
        </p:txBody>
      </p:sp>
      <p:sp>
        <p:nvSpPr>
          <p:cNvPr id="18" name="Rectangle 11">
            <a:extLst>
              <a:ext uri="{FF2B5EF4-FFF2-40B4-BE49-F238E27FC236}">
                <a16:creationId xmlns:a16="http://schemas.microsoft.com/office/drawing/2014/main" id="{8578E926-402B-42B3-AAD6-B8C4C2D80F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2019" y="5729092"/>
            <a:ext cx="5315070" cy="814438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88900" tIns="88900" rIns="88900" bIns="88900" anchor="t"/>
          <a:lstStyle/>
          <a:p>
            <a:pPr defTabSz="957998" eaLnBrk="1" hangingPunct="1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SELECT year, SUM(births) FROM births   </a:t>
            </a:r>
          </a:p>
          <a:p>
            <a:pPr defTabSz="957998" eaLnBrk="1" hangingPunct="1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GROUP BY year</a:t>
            </a:r>
          </a:p>
          <a:p>
            <a:pPr defTabSz="957998" eaLnBrk="1" hangingPunct="1">
              <a:defRPr/>
            </a:pPr>
            <a:r>
              <a:rPr lang="en-US" sz="1200" i="1" kern="0" dirty="0">
                <a:latin typeface="Calibri" panose="020F0502020204030204" pitchFamily="34" charset="0"/>
                <a:cs typeface="Calibri" panose="020F0502020204030204" pitchFamily="34" charset="0"/>
              </a:rPr>
              <a:t>ORDER by SUM(births) ASC;</a:t>
            </a:r>
          </a:p>
          <a:p>
            <a:pPr defTabSz="957998" eaLnBrk="1" hangingPunct="1">
              <a:spcBef>
                <a:spcPts val="200"/>
              </a:spcBef>
              <a:spcAft>
                <a:spcPts val="300"/>
              </a:spcAft>
              <a:defRPr/>
            </a:pPr>
            <a:endParaRPr lang="en-US" sz="1200" i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F168D77B-ADA8-4F13-9913-7957768222F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67" t="45224" r="33136" b="21135"/>
          <a:stretch/>
        </p:blipFill>
        <p:spPr>
          <a:xfrm>
            <a:off x="363641" y="2820018"/>
            <a:ext cx="5315070" cy="179188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C6AA5FB7-2996-4795-9CC4-9F30E2CDD83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298" t="42887" r="36212" b="22887"/>
          <a:stretch/>
        </p:blipFill>
        <p:spPr>
          <a:xfrm>
            <a:off x="6830883" y="2820018"/>
            <a:ext cx="4996206" cy="1905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09467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_US 16_9_Onscreen.potx" id="{1326C739-F2BE-4E49-AE92-64B862FEF522}" vid="{65390E24-AC4E-45FE-B3B4-9A822A6E10DE}"/>
    </a:ext>
  </a:extLst>
</a:theme>
</file>

<file path=ppt/theme/theme2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_US 16_9_Onscreen.potx" id="{1326C739-F2BE-4E49-AE92-64B862FEF522}" vid="{65390E24-AC4E-45FE-B3B4-9A822A6E10D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6ABDEFD1CD8E4A9C1D7085C7EC35AD" ma:contentTypeVersion="13" ma:contentTypeDescription="Create a new document." ma:contentTypeScope="" ma:versionID="dcd434ee867fe7bb5b4177215e08761c">
  <xsd:schema xmlns:xsd="http://www.w3.org/2001/XMLSchema" xmlns:xs="http://www.w3.org/2001/XMLSchema" xmlns:p="http://schemas.microsoft.com/office/2006/metadata/properties" xmlns:ns3="2896b5e4-ce13-48e7-a7ef-77ee84f3b1b1" xmlns:ns4="ed70b33d-ffb9-48e7-aac6-e6d35fa8b524" targetNamespace="http://schemas.microsoft.com/office/2006/metadata/properties" ma:root="true" ma:fieldsID="1fa330a54f1ac3ad93c576150684a37f" ns3:_="" ns4:_="">
    <xsd:import namespace="2896b5e4-ce13-48e7-a7ef-77ee84f3b1b1"/>
    <xsd:import namespace="ed70b33d-ffb9-48e7-aac6-e6d35fa8b52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96b5e4-ce13-48e7-a7ef-77ee84f3b1b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70b33d-ffb9-48e7-aac6-e6d35fa8b5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C93464-5859-406E-82B1-A014164339D3}">
  <ds:schemaRefs>
    <ds:schemaRef ds:uri="http://schemas.microsoft.com/office/2006/metadata/properties"/>
    <ds:schemaRef ds:uri="http://www.w3.org/XML/1998/namespace"/>
    <ds:schemaRef ds:uri="http://schemas.microsoft.com/office/2006/documentManagement/types"/>
    <ds:schemaRef ds:uri="ed70b33d-ffb9-48e7-aac6-e6d35fa8b524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2896b5e4-ce13-48e7-a7ef-77ee84f3b1b1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2F68ED11-2C6A-458E-AFF0-0D4023EAE49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CAE707C-A908-403A-8AAA-C4624188F1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896b5e4-ce13-48e7-a7ef-77ee84f3b1b1"/>
    <ds:schemaRef ds:uri="ed70b33d-ffb9-48e7-aac6-e6d35fa8b52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US_16_9_Onscreen</Template>
  <TotalTime>11503</TotalTime>
  <Words>1020</Words>
  <Application>Microsoft Office PowerPoint</Application>
  <PresentationFormat>Widescreen</PresentationFormat>
  <Paragraphs>160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Verdana</vt:lpstr>
      <vt:lpstr>Wingdings 2</vt:lpstr>
      <vt:lpstr>Deloitte_US_Onscreen</vt:lpstr>
      <vt:lpstr>1_Deloitte_US_Onscree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Verdana Bold</dc:title>
  <dc:subject/>
  <dc:creator>bmaestrini@DELOITTE.com</dc:creator>
  <cp:lastModifiedBy>Bernardo, Sabrina Pinto</cp:lastModifiedBy>
  <cp:revision>595</cp:revision>
  <cp:lastPrinted>2014-06-25T02:16:22Z</cp:lastPrinted>
  <dcterms:created xsi:type="dcterms:W3CDTF">2016-09-05T18:19:43Z</dcterms:created>
  <dcterms:modified xsi:type="dcterms:W3CDTF">2022-03-22T20:5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6ABDEFD1CD8E4A9C1D7085C7EC35AD</vt:lpwstr>
  </property>
  <property fmtid="{D5CDD505-2E9C-101B-9397-08002B2CF9AE}" pid="3" name="_dlc_DocIdItemGuid">
    <vt:lpwstr>08186aa7-1690-486f-a7cf-10e864b2c2fe</vt:lpwstr>
  </property>
  <property fmtid="{D5CDD505-2E9C-101B-9397-08002B2CF9AE}" pid="4" name="Local Content Type">
    <vt:lpwstr/>
  </property>
  <property fmtid="{D5CDD505-2E9C-101B-9397-08002B2CF9AE}" pid="5" name="TaxKeyword">
    <vt:lpwstr/>
  </property>
  <property fmtid="{D5CDD505-2E9C-101B-9397-08002B2CF9AE}" pid="6" name="Global Client Services">
    <vt:lpwstr/>
  </property>
  <property fmtid="{D5CDD505-2E9C-101B-9397-08002B2CF9AE}" pid="7" name="Geography">
    <vt:lpwstr>36;#Brazil (52371)|db79e1a5-90c5-4454-bdbe-253fe04f4b19</vt:lpwstr>
  </property>
  <property fmtid="{D5CDD505-2E9C-101B-9397-08002B2CF9AE}" pid="8" name="Local Industry">
    <vt:lpwstr/>
  </property>
  <property fmtid="{D5CDD505-2E9C-101B-9397-08002B2CF9AE}" pid="9" name="Global Industry">
    <vt:lpwstr/>
  </property>
  <property fmtid="{D5CDD505-2E9C-101B-9397-08002B2CF9AE}" pid="10" name="LanguageB">
    <vt:lpwstr>2;#Portuguese|85f8c509-c29f-4ae2-8088-4597c728abb2</vt:lpwstr>
  </property>
  <property fmtid="{D5CDD505-2E9C-101B-9397-08002B2CF9AE}" pid="11" name="Global Content Type">
    <vt:lpwstr/>
  </property>
  <property fmtid="{D5CDD505-2E9C-101B-9397-08002B2CF9AE}" pid="12" name="Local Client Services">
    <vt:lpwstr/>
  </property>
  <property fmtid="{D5CDD505-2E9C-101B-9397-08002B2CF9AE}" pid="13" name="MSIP_Label_ea60d57e-af5b-4752-ac57-3e4f28ca11dc_Enabled">
    <vt:lpwstr>true</vt:lpwstr>
  </property>
  <property fmtid="{D5CDD505-2E9C-101B-9397-08002B2CF9AE}" pid="14" name="MSIP_Label_ea60d57e-af5b-4752-ac57-3e4f28ca11dc_SetDate">
    <vt:lpwstr>2021-06-24T20:03:14Z</vt:lpwstr>
  </property>
  <property fmtid="{D5CDD505-2E9C-101B-9397-08002B2CF9AE}" pid="15" name="MSIP_Label_ea60d57e-af5b-4752-ac57-3e4f28ca11dc_Method">
    <vt:lpwstr>Standard</vt:lpwstr>
  </property>
  <property fmtid="{D5CDD505-2E9C-101B-9397-08002B2CF9AE}" pid="16" name="MSIP_Label_ea60d57e-af5b-4752-ac57-3e4f28ca11dc_Name">
    <vt:lpwstr>ea60d57e-af5b-4752-ac57-3e4f28ca11dc</vt:lpwstr>
  </property>
  <property fmtid="{D5CDD505-2E9C-101B-9397-08002B2CF9AE}" pid="17" name="MSIP_Label_ea60d57e-af5b-4752-ac57-3e4f28ca11dc_SiteId">
    <vt:lpwstr>36da45f1-dd2c-4d1f-af13-5abe46b99921</vt:lpwstr>
  </property>
  <property fmtid="{D5CDD505-2E9C-101B-9397-08002B2CF9AE}" pid="18" name="MSIP_Label_ea60d57e-af5b-4752-ac57-3e4f28ca11dc_ActionId">
    <vt:lpwstr>a68d7c1a-b333-4e68-8a8e-03bb75d325af</vt:lpwstr>
  </property>
  <property fmtid="{D5CDD505-2E9C-101B-9397-08002B2CF9AE}" pid="19" name="MSIP_Label_ea60d57e-af5b-4752-ac57-3e4f28ca11dc_ContentBits">
    <vt:lpwstr>0</vt:lpwstr>
  </property>
</Properties>
</file>